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2" r:id="rId2"/>
  </p:sldMasterIdLst>
  <p:notesMasterIdLst>
    <p:notesMasterId r:id="rId24"/>
  </p:notesMasterIdLst>
  <p:sldIdLst>
    <p:sldId id="256" r:id="rId3"/>
    <p:sldId id="385" r:id="rId4"/>
    <p:sldId id="381" r:id="rId5"/>
    <p:sldId id="400" r:id="rId6"/>
    <p:sldId id="313" r:id="rId7"/>
    <p:sldId id="398" r:id="rId8"/>
    <p:sldId id="288" r:id="rId9"/>
    <p:sldId id="387" r:id="rId10"/>
    <p:sldId id="321" r:id="rId11"/>
    <p:sldId id="319" r:id="rId12"/>
    <p:sldId id="388" r:id="rId13"/>
    <p:sldId id="389" r:id="rId14"/>
    <p:sldId id="390" r:id="rId15"/>
    <p:sldId id="391" r:id="rId16"/>
    <p:sldId id="392" r:id="rId17"/>
    <p:sldId id="393" r:id="rId18"/>
    <p:sldId id="394" r:id="rId19"/>
    <p:sldId id="395" r:id="rId20"/>
    <p:sldId id="396" r:id="rId21"/>
    <p:sldId id="397" r:id="rId22"/>
    <p:sldId id="399" r:id="rId23"/>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pture" initials="c"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09" autoAdjust="0"/>
    <p:restoredTop sz="94660"/>
  </p:normalViewPr>
  <p:slideViewPr>
    <p:cSldViewPr snapToGrid="0" snapToObjects="1">
      <p:cViewPr varScale="1">
        <p:scale>
          <a:sx n="47" d="100"/>
          <a:sy n="47" d="100"/>
        </p:scale>
        <p:origin x="-114" y="-552"/>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32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C91B532-15BE-4C99-BF13-32B93792FA16}" type="datetimeFigureOut">
              <a:rPr lang="en-US" smtClean="0"/>
              <a:t>10/16/2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CFAF729-2FFE-4BD6-9436-725DE06C0867}" type="slidenum">
              <a:rPr lang="en-US" smtClean="0"/>
              <a:t>‹#›</a:t>
            </a:fld>
            <a:endParaRPr lang="en-US"/>
          </a:p>
        </p:txBody>
      </p:sp>
    </p:spTree>
    <p:extLst>
      <p:ext uri="{BB962C8B-B14F-4D97-AF65-F5344CB8AC3E}">
        <p14:creationId xmlns:p14="http://schemas.microsoft.com/office/powerpoint/2010/main" val="3456867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1" y="1"/>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8" name="Group 2"/>
          <p:cNvGrpSpPr>
            <a:grpSpLocks/>
          </p:cNvGrpSpPr>
          <p:nvPr userDrawn="1"/>
        </p:nvGrpSpPr>
        <p:grpSpPr bwMode="auto">
          <a:xfrm>
            <a:off x="6908800" y="266889"/>
            <a:ext cx="2026124" cy="307034"/>
            <a:chOff x="722313" y="1177924"/>
            <a:chExt cx="8621712" cy="1306513"/>
          </a:xfrm>
        </p:grpSpPr>
        <p:sp>
          <p:nvSpPr>
            <p:cNvPr id="9" name="Freeform 30"/>
            <p:cNvSpPr>
              <a:spLocks noChangeArrowheads="1"/>
            </p:cNvSpPr>
            <p:nvPr/>
          </p:nvSpPr>
          <p:spPr bwMode="auto">
            <a:xfrm>
              <a:off x="8505825" y="1727199"/>
              <a:ext cx="273050" cy="452438"/>
            </a:xfrm>
            <a:custGeom>
              <a:avLst/>
              <a:gdLst>
                <a:gd name="T0" fmla="*/ 337 w 882"/>
                <a:gd name="T1" fmla="*/ 1467 h 1468"/>
                <a:gd name="T2" fmla="*/ 337 w 882"/>
                <a:gd name="T3" fmla="*/ 1467 h 1468"/>
                <a:gd name="T4" fmla="*/ 244 w 882"/>
                <a:gd name="T5" fmla="*/ 1465 h 1468"/>
                <a:gd name="T6" fmla="*/ 0 w 882"/>
                <a:gd name="T7" fmla="*/ 1404 h 1468"/>
                <a:gd name="T8" fmla="*/ 23 w 882"/>
                <a:gd name="T9" fmla="*/ 1329 h 1468"/>
                <a:gd name="T10" fmla="*/ 67 w 882"/>
                <a:gd name="T11" fmla="*/ 1156 h 1468"/>
                <a:gd name="T12" fmla="*/ 95 w 882"/>
                <a:gd name="T13" fmla="*/ 1154 h 1468"/>
                <a:gd name="T14" fmla="*/ 384 w 882"/>
                <a:gd name="T15" fmla="*/ 1329 h 1468"/>
                <a:gd name="T16" fmla="*/ 656 w 882"/>
                <a:gd name="T17" fmla="*/ 1087 h 1468"/>
                <a:gd name="T18" fmla="*/ 572 w 882"/>
                <a:gd name="T19" fmla="*/ 907 h 1468"/>
                <a:gd name="T20" fmla="*/ 390 w 882"/>
                <a:gd name="T21" fmla="*/ 806 h 1468"/>
                <a:gd name="T22" fmla="*/ 194 w 882"/>
                <a:gd name="T23" fmla="*/ 706 h 1468"/>
                <a:gd name="T24" fmla="*/ 36 w 882"/>
                <a:gd name="T25" fmla="*/ 415 h 1468"/>
                <a:gd name="T26" fmla="*/ 554 w 882"/>
                <a:gd name="T27" fmla="*/ 0 h 1468"/>
                <a:gd name="T28" fmla="*/ 829 w 882"/>
                <a:gd name="T29" fmla="*/ 50 h 1468"/>
                <a:gd name="T30" fmla="*/ 812 w 882"/>
                <a:gd name="T31" fmla="*/ 121 h 1468"/>
                <a:gd name="T32" fmla="*/ 792 w 882"/>
                <a:gd name="T33" fmla="*/ 216 h 1468"/>
                <a:gd name="T34" fmla="*/ 781 w 882"/>
                <a:gd name="T35" fmla="*/ 279 h 1468"/>
                <a:gd name="T36" fmla="*/ 749 w 882"/>
                <a:gd name="T37" fmla="*/ 283 h 1468"/>
                <a:gd name="T38" fmla="*/ 481 w 882"/>
                <a:gd name="T39" fmla="*/ 139 h 1468"/>
                <a:gd name="T40" fmla="*/ 254 w 882"/>
                <a:gd name="T41" fmla="*/ 337 h 1468"/>
                <a:gd name="T42" fmla="*/ 323 w 882"/>
                <a:gd name="T43" fmla="*/ 486 h 1468"/>
                <a:gd name="T44" fmla="*/ 527 w 882"/>
                <a:gd name="T45" fmla="*/ 601 h 1468"/>
                <a:gd name="T46" fmla="*/ 730 w 882"/>
                <a:gd name="T47" fmla="*/ 713 h 1468"/>
                <a:gd name="T48" fmla="*/ 881 w 882"/>
                <a:gd name="T49" fmla="*/ 1011 h 1468"/>
                <a:gd name="T50" fmla="*/ 337 w 882"/>
                <a:gd name="T51" fmla="*/ 1467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2" h="1468">
                  <a:moveTo>
                    <a:pt x="337" y="1467"/>
                  </a:moveTo>
                  <a:lnTo>
                    <a:pt x="337" y="1467"/>
                  </a:lnTo>
                  <a:cubicBezTo>
                    <a:pt x="306" y="1467"/>
                    <a:pt x="274" y="1467"/>
                    <a:pt x="244" y="1465"/>
                  </a:cubicBezTo>
                  <a:cubicBezTo>
                    <a:pt x="162" y="1456"/>
                    <a:pt x="112" y="1445"/>
                    <a:pt x="0" y="1404"/>
                  </a:cubicBezTo>
                  <a:cubicBezTo>
                    <a:pt x="23" y="1329"/>
                    <a:pt x="23" y="1329"/>
                    <a:pt x="23" y="1329"/>
                  </a:cubicBezTo>
                  <a:cubicBezTo>
                    <a:pt x="67" y="1156"/>
                    <a:pt x="67" y="1156"/>
                    <a:pt x="67" y="1156"/>
                  </a:cubicBezTo>
                  <a:cubicBezTo>
                    <a:pt x="95" y="1154"/>
                    <a:pt x="95" y="1154"/>
                    <a:pt x="95" y="1154"/>
                  </a:cubicBezTo>
                  <a:cubicBezTo>
                    <a:pt x="168" y="1277"/>
                    <a:pt x="254" y="1329"/>
                    <a:pt x="384" y="1329"/>
                  </a:cubicBezTo>
                  <a:cubicBezTo>
                    <a:pt x="539" y="1329"/>
                    <a:pt x="656" y="1225"/>
                    <a:pt x="656" y="1087"/>
                  </a:cubicBezTo>
                  <a:cubicBezTo>
                    <a:pt x="656" y="1018"/>
                    <a:pt x="630" y="955"/>
                    <a:pt x="572" y="907"/>
                  </a:cubicBezTo>
                  <a:cubicBezTo>
                    <a:pt x="533" y="869"/>
                    <a:pt x="503" y="858"/>
                    <a:pt x="390" y="806"/>
                  </a:cubicBezTo>
                  <a:cubicBezTo>
                    <a:pt x="291" y="760"/>
                    <a:pt x="237" y="733"/>
                    <a:pt x="194" y="706"/>
                  </a:cubicBezTo>
                  <a:cubicBezTo>
                    <a:pt x="90" y="638"/>
                    <a:pt x="36" y="542"/>
                    <a:pt x="36" y="415"/>
                  </a:cubicBezTo>
                  <a:cubicBezTo>
                    <a:pt x="36" y="156"/>
                    <a:pt x="231" y="0"/>
                    <a:pt x="554" y="0"/>
                  </a:cubicBezTo>
                  <a:cubicBezTo>
                    <a:pt x="654" y="0"/>
                    <a:pt x="712" y="13"/>
                    <a:pt x="829" y="50"/>
                  </a:cubicBezTo>
                  <a:cubicBezTo>
                    <a:pt x="812" y="121"/>
                    <a:pt x="812" y="121"/>
                    <a:pt x="812" y="121"/>
                  </a:cubicBezTo>
                  <a:cubicBezTo>
                    <a:pt x="792" y="216"/>
                    <a:pt x="792" y="216"/>
                    <a:pt x="792" y="216"/>
                  </a:cubicBezTo>
                  <a:cubicBezTo>
                    <a:pt x="781" y="279"/>
                    <a:pt x="781" y="279"/>
                    <a:pt x="781" y="279"/>
                  </a:cubicBezTo>
                  <a:cubicBezTo>
                    <a:pt x="749" y="283"/>
                    <a:pt x="749" y="283"/>
                    <a:pt x="749" y="283"/>
                  </a:cubicBezTo>
                  <a:cubicBezTo>
                    <a:pt x="688" y="188"/>
                    <a:pt x="596" y="139"/>
                    <a:pt x="481" y="139"/>
                  </a:cubicBezTo>
                  <a:cubicBezTo>
                    <a:pt x="343" y="139"/>
                    <a:pt x="254" y="216"/>
                    <a:pt x="254" y="337"/>
                  </a:cubicBezTo>
                  <a:cubicBezTo>
                    <a:pt x="254" y="398"/>
                    <a:pt x="276" y="449"/>
                    <a:pt x="323" y="486"/>
                  </a:cubicBezTo>
                  <a:cubicBezTo>
                    <a:pt x="364" y="521"/>
                    <a:pt x="395" y="538"/>
                    <a:pt x="527" y="601"/>
                  </a:cubicBezTo>
                  <a:cubicBezTo>
                    <a:pt x="635" y="657"/>
                    <a:pt x="682" y="679"/>
                    <a:pt x="730" y="713"/>
                  </a:cubicBezTo>
                  <a:cubicBezTo>
                    <a:pt x="825" y="784"/>
                    <a:pt x="881" y="890"/>
                    <a:pt x="881" y="1011"/>
                  </a:cubicBezTo>
                  <a:cubicBezTo>
                    <a:pt x="881" y="1281"/>
                    <a:pt x="660" y="1467"/>
                    <a:pt x="337" y="1467"/>
                  </a:cubicBez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0" name="Freeform 31"/>
            <p:cNvSpPr>
              <a:spLocks noChangeArrowheads="1"/>
            </p:cNvSpPr>
            <p:nvPr/>
          </p:nvSpPr>
          <p:spPr bwMode="auto">
            <a:xfrm>
              <a:off x="8048625" y="1739899"/>
              <a:ext cx="428625" cy="436563"/>
            </a:xfrm>
            <a:custGeom>
              <a:avLst/>
              <a:gdLst>
                <a:gd name="T0" fmla="*/ 1337 w 1394"/>
                <a:gd name="T1" fmla="*/ 1376 h 1418"/>
                <a:gd name="T2" fmla="*/ 1337 w 1394"/>
                <a:gd name="T3" fmla="*/ 1376 h 1418"/>
                <a:gd name="T4" fmla="*/ 1267 w 1394"/>
                <a:gd name="T5" fmla="*/ 1380 h 1418"/>
                <a:gd name="T6" fmla="*/ 1093 w 1394"/>
                <a:gd name="T7" fmla="*/ 1389 h 1418"/>
                <a:gd name="T8" fmla="*/ 1002 w 1394"/>
                <a:gd name="T9" fmla="*/ 1396 h 1418"/>
                <a:gd name="T10" fmla="*/ 997 w 1394"/>
                <a:gd name="T11" fmla="*/ 1138 h 1418"/>
                <a:gd name="T12" fmla="*/ 875 w 1394"/>
                <a:gd name="T13" fmla="*/ 1236 h 1418"/>
                <a:gd name="T14" fmla="*/ 466 w 1394"/>
                <a:gd name="T15" fmla="*/ 1417 h 1418"/>
                <a:gd name="T16" fmla="*/ 116 w 1394"/>
                <a:gd name="T17" fmla="*/ 1231 h 1418"/>
                <a:gd name="T18" fmla="*/ 69 w 1394"/>
                <a:gd name="T19" fmla="*/ 1104 h 1418"/>
                <a:gd name="T20" fmla="*/ 58 w 1394"/>
                <a:gd name="T21" fmla="*/ 879 h 1418"/>
                <a:gd name="T22" fmla="*/ 58 w 1394"/>
                <a:gd name="T23" fmla="*/ 551 h 1418"/>
                <a:gd name="T24" fmla="*/ 0 w 1394"/>
                <a:gd name="T25" fmla="*/ 7 h 1418"/>
                <a:gd name="T26" fmla="*/ 75 w 1394"/>
                <a:gd name="T27" fmla="*/ 11 h 1418"/>
                <a:gd name="T28" fmla="*/ 248 w 1394"/>
                <a:gd name="T29" fmla="*/ 2 h 1418"/>
                <a:gd name="T30" fmla="*/ 334 w 1394"/>
                <a:gd name="T31" fmla="*/ 0 h 1418"/>
                <a:gd name="T32" fmla="*/ 311 w 1394"/>
                <a:gd name="T33" fmla="*/ 138 h 1418"/>
                <a:gd name="T34" fmla="*/ 291 w 1394"/>
                <a:gd name="T35" fmla="*/ 493 h 1418"/>
                <a:gd name="T36" fmla="*/ 294 w 1394"/>
                <a:gd name="T37" fmla="*/ 756 h 1418"/>
                <a:gd name="T38" fmla="*/ 321 w 1394"/>
                <a:gd name="T39" fmla="*/ 1048 h 1418"/>
                <a:gd name="T40" fmla="*/ 576 w 1394"/>
                <a:gd name="T41" fmla="*/ 1221 h 1418"/>
                <a:gd name="T42" fmla="*/ 849 w 1394"/>
                <a:gd name="T43" fmla="*/ 1115 h 1418"/>
                <a:gd name="T44" fmla="*/ 972 w 1394"/>
                <a:gd name="T45" fmla="*/ 745 h 1418"/>
                <a:gd name="T46" fmla="*/ 972 w 1394"/>
                <a:gd name="T47" fmla="*/ 551 h 1418"/>
                <a:gd name="T48" fmla="*/ 918 w 1394"/>
                <a:gd name="T49" fmla="*/ 7 h 1418"/>
                <a:gd name="T50" fmla="*/ 989 w 1394"/>
                <a:gd name="T51" fmla="*/ 11 h 1418"/>
                <a:gd name="T52" fmla="*/ 1162 w 1394"/>
                <a:gd name="T53" fmla="*/ 2 h 1418"/>
                <a:gd name="T54" fmla="*/ 1248 w 1394"/>
                <a:gd name="T55" fmla="*/ 0 h 1418"/>
                <a:gd name="T56" fmla="*/ 1229 w 1394"/>
                <a:gd name="T57" fmla="*/ 138 h 1418"/>
                <a:gd name="T58" fmla="*/ 1205 w 1394"/>
                <a:gd name="T59" fmla="*/ 493 h 1418"/>
                <a:gd name="T60" fmla="*/ 1203 w 1394"/>
                <a:gd name="T61" fmla="*/ 778 h 1418"/>
                <a:gd name="T62" fmla="*/ 1231 w 1394"/>
                <a:gd name="T63" fmla="*/ 1179 h 1418"/>
                <a:gd name="T64" fmla="*/ 1369 w 1394"/>
                <a:gd name="T65" fmla="*/ 1264 h 1418"/>
                <a:gd name="T66" fmla="*/ 1393 w 1394"/>
                <a:gd name="T67" fmla="*/ 1264 h 1418"/>
                <a:gd name="T68" fmla="*/ 1337 w 1394"/>
                <a:gd name="T69" fmla="*/ 1376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4" h="1418">
                  <a:moveTo>
                    <a:pt x="1337" y="1376"/>
                  </a:moveTo>
                  <a:lnTo>
                    <a:pt x="1337" y="1376"/>
                  </a:lnTo>
                  <a:cubicBezTo>
                    <a:pt x="1267" y="1380"/>
                    <a:pt x="1267" y="1380"/>
                    <a:pt x="1267" y="1380"/>
                  </a:cubicBezTo>
                  <a:cubicBezTo>
                    <a:pt x="1093" y="1389"/>
                    <a:pt x="1093" y="1389"/>
                    <a:pt x="1093" y="1389"/>
                  </a:cubicBezTo>
                  <a:cubicBezTo>
                    <a:pt x="1002" y="1396"/>
                    <a:pt x="1002" y="1396"/>
                    <a:pt x="1002" y="1396"/>
                  </a:cubicBezTo>
                  <a:cubicBezTo>
                    <a:pt x="997" y="1138"/>
                    <a:pt x="997" y="1138"/>
                    <a:pt x="997" y="1138"/>
                  </a:cubicBezTo>
                  <a:cubicBezTo>
                    <a:pt x="875" y="1236"/>
                    <a:pt x="875" y="1236"/>
                    <a:pt x="875" y="1236"/>
                  </a:cubicBezTo>
                  <a:cubicBezTo>
                    <a:pt x="712" y="1368"/>
                    <a:pt x="605" y="1417"/>
                    <a:pt x="466" y="1417"/>
                  </a:cubicBezTo>
                  <a:cubicBezTo>
                    <a:pt x="308" y="1417"/>
                    <a:pt x="185" y="1352"/>
                    <a:pt x="116" y="1231"/>
                  </a:cubicBezTo>
                  <a:cubicBezTo>
                    <a:pt x="93" y="1190"/>
                    <a:pt x="78" y="1147"/>
                    <a:pt x="69" y="1104"/>
                  </a:cubicBezTo>
                  <a:cubicBezTo>
                    <a:pt x="58" y="1043"/>
                    <a:pt x="58" y="1009"/>
                    <a:pt x="58" y="879"/>
                  </a:cubicBezTo>
                  <a:cubicBezTo>
                    <a:pt x="58" y="551"/>
                    <a:pt x="58" y="551"/>
                    <a:pt x="58" y="551"/>
                  </a:cubicBezTo>
                  <a:cubicBezTo>
                    <a:pt x="58" y="289"/>
                    <a:pt x="41" y="132"/>
                    <a:pt x="0" y="7"/>
                  </a:cubicBezTo>
                  <a:cubicBezTo>
                    <a:pt x="75" y="11"/>
                    <a:pt x="75" y="11"/>
                    <a:pt x="75" y="11"/>
                  </a:cubicBezTo>
                  <a:cubicBezTo>
                    <a:pt x="248" y="2"/>
                    <a:pt x="248" y="2"/>
                    <a:pt x="248" y="2"/>
                  </a:cubicBezTo>
                  <a:cubicBezTo>
                    <a:pt x="334" y="0"/>
                    <a:pt x="334" y="0"/>
                    <a:pt x="334" y="0"/>
                  </a:cubicBezTo>
                  <a:cubicBezTo>
                    <a:pt x="322" y="60"/>
                    <a:pt x="317" y="106"/>
                    <a:pt x="311" y="138"/>
                  </a:cubicBezTo>
                  <a:cubicBezTo>
                    <a:pt x="300" y="233"/>
                    <a:pt x="291" y="398"/>
                    <a:pt x="291" y="493"/>
                  </a:cubicBezTo>
                  <a:cubicBezTo>
                    <a:pt x="294" y="756"/>
                    <a:pt x="294" y="756"/>
                    <a:pt x="294" y="756"/>
                  </a:cubicBezTo>
                  <a:cubicBezTo>
                    <a:pt x="296" y="905"/>
                    <a:pt x="300" y="983"/>
                    <a:pt x="321" y="1048"/>
                  </a:cubicBezTo>
                  <a:cubicBezTo>
                    <a:pt x="358" y="1162"/>
                    <a:pt x="449" y="1221"/>
                    <a:pt x="576" y="1221"/>
                  </a:cubicBezTo>
                  <a:cubicBezTo>
                    <a:pt x="680" y="1221"/>
                    <a:pt x="769" y="1186"/>
                    <a:pt x="849" y="1115"/>
                  </a:cubicBezTo>
                  <a:cubicBezTo>
                    <a:pt x="946" y="1026"/>
                    <a:pt x="972" y="948"/>
                    <a:pt x="972" y="745"/>
                  </a:cubicBezTo>
                  <a:cubicBezTo>
                    <a:pt x="972" y="551"/>
                    <a:pt x="972" y="551"/>
                    <a:pt x="972" y="551"/>
                  </a:cubicBezTo>
                  <a:cubicBezTo>
                    <a:pt x="972" y="289"/>
                    <a:pt x="959" y="132"/>
                    <a:pt x="918" y="7"/>
                  </a:cubicBezTo>
                  <a:cubicBezTo>
                    <a:pt x="989" y="11"/>
                    <a:pt x="989" y="11"/>
                    <a:pt x="989" y="11"/>
                  </a:cubicBezTo>
                  <a:cubicBezTo>
                    <a:pt x="1162" y="2"/>
                    <a:pt x="1162" y="2"/>
                    <a:pt x="1162" y="2"/>
                  </a:cubicBezTo>
                  <a:cubicBezTo>
                    <a:pt x="1248" y="0"/>
                    <a:pt x="1248" y="0"/>
                    <a:pt x="1248" y="0"/>
                  </a:cubicBezTo>
                  <a:cubicBezTo>
                    <a:pt x="1237" y="60"/>
                    <a:pt x="1231" y="106"/>
                    <a:pt x="1229" y="138"/>
                  </a:cubicBezTo>
                  <a:cubicBezTo>
                    <a:pt x="1216" y="233"/>
                    <a:pt x="1205" y="383"/>
                    <a:pt x="1205" y="493"/>
                  </a:cubicBezTo>
                  <a:cubicBezTo>
                    <a:pt x="1203" y="778"/>
                    <a:pt x="1203" y="778"/>
                    <a:pt x="1203" y="778"/>
                  </a:cubicBezTo>
                  <a:cubicBezTo>
                    <a:pt x="1200" y="989"/>
                    <a:pt x="1211" y="1117"/>
                    <a:pt x="1231" y="1179"/>
                  </a:cubicBezTo>
                  <a:cubicBezTo>
                    <a:pt x="1248" y="1233"/>
                    <a:pt x="1300" y="1264"/>
                    <a:pt x="1369" y="1264"/>
                  </a:cubicBezTo>
                  <a:cubicBezTo>
                    <a:pt x="1393" y="1264"/>
                    <a:pt x="1393" y="1264"/>
                    <a:pt x="1393" y="1264"/>
                  </a:cubicBezTo>
                  <a:lnTo>
                    <a:pt x="1337" y="1376"/>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1" name="Freeform 32"/>
            <p:cNvSpPr>
              <a:spLocks noChangeArrowheads="1"/>
            </p:cNvSpPr>
            <p:nvPr/>
          </p:nvSpPr>
          <p:spPr bwMode="auto">
            <a:xfrm>
              <a:off x="7558088" y="1722437"/>
              <a:ext cx="434975" cy="458787"/>
            </a:xfrm>
            <a:custGeom>
              <a:avLst/>
              <a:gdLst>
                <a:gd name="T0" fmla="*/ 698 w 1413"/>
                <a:gd name="T1" fmla="*/ 132 h 1487"/>
                <a:gd name="T2" fmla="*/ 698 w 1413"/>
                <a:gd name="T3" fmla="*/ 132 h 1487"/>
                <a:gd name="T4" fmla="*/ 648 w 1413"/>
                <a:gd name="T5" fmla="*/ 134 h 1487"/>
                <a:gd name="T6" fmla="*/ 279 w 1413"/>
                <a:gd name="T7" fmla="*/ 709 h 1487"/>
                <a:gd name="T8" fmla="*/ 713 w 1413"/>
                <a:gd name="T9" fmla="*/ 1357 h 1487"/>
                <a:gd name="T10" fmla="*/ 1134 w 1413"/>
                <a:gd name="T11" fmla="*/ 778 h 1487"/>
                <a:gd name="T12" fmla="*/ 698 w 1413"/>
                <a:gd name="T13" fmla="*/ 132 h 1487"/>
                <a:gd name="T14" fmla="*/ 672 w 1413"/>
                <a:gd name="T15" fmla="*/ 1486 h 1487"/>
                <a:gd name="T16" fmla="*/ 672 w 1413"/>
                <a:gd name="T17" fmla="*/ 1486 h 1487"/>
                <a:gd name="T18" fmla="*/ 0 w 1413"/>
                <a:gd name="T19" fmla="*/ 767 h 1487"/>
                <a:gd name="T20" fmla="*/ 696 w 1413"/>
                <a:gd name="T21" fmla="*/ 2 h 1487"/>
                <a:gd name="T22" fmla="*/ 745 w 1413"/>
                <a:gd name="T23" fmla="*/ 0 h 1487"/>
                <a:gd name="T24" fmla="*/ 1412 w 1413"/>
                <a:gd name="T25" fmla="*/ 713 h 1487"/>
                <a:gd name="T26" fmla="*/ 672 w 1413"/>
                <a:gd name="T27" fmla="*/ 1486 h 1487"/>
                <a:gd name="T28" fmla="*/ 698 w 1413"/>
                <a:gd name="T29" fmla="*/ 132 h 1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3" h="1487">
                  <a:moveTo>
                    <a:pt x="698" y="132"/>
                  </a:moveTo>
                  <a:lnTo>
                    <a:pt x="698" y="132"/>
                  </a:lnTo>
                  <a:cubicBezTo>
                    <a:pt x="682" y="132"/>
                    <a:pt x="665" y="132"/>
                    <a:pt x="648" y="134"/>
                  </a:cubicBezTo>
                  <a:cubicBezTo>
                    <a:pt x="413" y="169"/>
                    <a:pt x="279" y="382"/>
                    <a:pt x="279" y="709"/>
                  </a:cubicBezTo>
                  <a:cubicBezTo>
                    <a:pt x="279" y="1095"/>
                    <a:pt x="454" y="1357"/>
                    <a:pt x="713" y="1357"/>
                  </a:cubicBezTo>
                  <a:cubicBezTo>
                    <a:pt x="966" y="1357"/>
                    <a:pt x="1134" y="1124"/>
                    <a:pt x="1134" y="778"/>
                  </a:cubicBezTo>
                  <a:cubicBezTo>
                    <a:pt x="1134" y="393"/>
                    <a:pt x="957" y="132"/>
                    <a:pt x="698" y="132"/>
                  </a:cubicBezTo>
                  <a:lnTo>
                    <a:pt x="672" y="1486"/>
                  </a:lnTo>
                  <a:lnTo>
                    <a:pt x="672" y="1486"/>
                  </a:lnTo>
                  <a:cubicBezTo>
                    <a:pt x="264" y="1486"/>
                    <a:pt x="0" y="1204"/>
                    <a:pt x="0" y="767"/>
                  </a:cubicBezTo>
                  <a:cubicBezTo>
                    <a:pt x="0" y="329"/>
                    <a:pt x="281" y="20"/>
                    <a:pt x="696" y="2"/>
                  </a:cubicBezTo>
                  <a:cubicBezTo>
                    <a:pt x="713" y="0"/>
                    <a:pt x="728" y="0"/>
                    <a:pt x="745" y="0"/>
                  </a:cubicBezTo>
                  <a:cubicBezTo>
                    <a:pt x="1156" y="0"/>
                    <a:pt x="1412" y="275"/>
                    <a:pt x="1412" y="713"/>
                  </a:cubicBezTo>
                  <a:cubicBezTo>
                    <a:pt x="1412" y="1167"/>
                    <a:pt x="1108" y="1486"/>
                    <a:pt x="672" y="1486"/>
                  </a:cubicBezTo>
                  <a:lnTo>
                    <a:pt x="698" y="132"/>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2" name="Freeform 33"/>
            <p:cNvSpPr>
              <a:spLocks noChangeArrowheads="1"/>
            </p:cNvSpPr>
            <p:nvPr/>
          </p:nvSpPr>
          <p:spPr bwMode="auto">
            <a:xfrm>
              <a:off x="6888163" y="1547812"/>
              <a:ext cx="598487" cy="619125"/>
            </a:xfrm>
            <a:custGeom>
              <a:avLst/>
              <a:gdLst>
                <a:gd name="T0" fmla="*/ 1864 w 1939"/>
                <a:gd name="T1" fmla="*/ 1998 h 2005"/>
                <a:gd name="T2" fmla="*/ 1864 w 1939"/>
                <a:gd name="T3" fmla="*/ 1998 h 2005"/>
                <a:gd name="T4" fmla="*/ 1654 w 1939"/>
                <a:gd name="T5" fmla="*/ 1998 h 2005"/>
                <a:gd name="T6" fmla="*/ 1574 w 1939"/>
                <a:gd name="T7" fmla="*/ 2004 h 2005"/>
                <a:gd name="T8" fmla="*/ 1590 w 1939"/>
                <a:gd name="T9" fmla="*/ 1875 h 2005"/>
                <a:gd name="T10" fmla="*/ 1609 w 1939"/>
                <a:gd name="T11" fmla="*/ 1668 h 2005"/>
                <a:gd name="T12" fmla="*/ 1611 w 1939"/>
                <a:gd name="T13" fmla="*/ 1458 h 2005"/>
                <a:gd name="T14" fmla="*/ 1614 w 1939"/>
                <a:gd name="T15" fmla="*/ 1030 h 2005"/>
                <a:gd name="T16" fmla="*/ 1439 w 1939"/>
                <a:gd name="T17" fmla="*/ 1026 h 2005"/>
                <a:gd name="T18" fmla="*/ 1156 w 1939"/>
                <a:gd name="T19" fmla="*/ 1019 h 2005"/>
                <a:gd name="T20" fmla="*/ 860 w 1939"/>
                <a:gd name="T21" fmla="*/ 1019 h 2005"/>
                <a:gd name="T22" fmla="*/ 650 w 1939"/>
                <a:gd name="T23" fmla="*/ 1026 h 2005"/>
                <a:gd name="T24" fmla="*/ 458 w 1939"/>
                <a:gd name="T25" fmla="*/ 1030 h 2005"/>
                <a:gd name="T26" fmla="*/ 458 w 1939"/>
                <a:gd name="T27" fmla="*/ 1462 h 2005"/>
                <a:gd name="T28" fmla="*/ 516 w 1939"/>
                <a:gd name="T29" fmla="*/ 2004 h 2005"/>
                <a:gd name="T30" fmla="*/ 441 w 1939"/>
                <a:gd name="T31" fmla="*/ 1998 h 2005"/>
                <a:gd name="T32" fmla="*/ 231 w 1939"/>
                <a:gd name="T33" fmla="*/ 1998 h 2005"/>
                <a:gd name="T34" fmla="*/ 151 w 1939"/>
                <a:gd name="T35" fmla="*/ 2004 h 2005"/>
                <a:gd name="T36" fmla="*/ 168 w 1939"/>
                <a:gd name="T37" fmla="*/ 1875 h 2005"/>
                <a:gd name="T38" fmla="*/ 188 w 1939"/>
                <a:gd name="T39" fmla="*/ 1458 h 2005"/>
                <a:gd name="T40" fmla="*/ 190 w 1939"/>
                <a:gd name="T41" fmla="*/ 512 h 2005"/>
                <a:gd name="T42" fmla="*/ 171 w 1939"/>
                <a:gd name="T43" fmla="*/ 212 h 2005"/>
                <a:gd name="T44" fmla="*/ 30 w 1939"/>
                <a:gd name="T45" fmla="*/ 123 h 2005"/>
                <a:gd name="T46" fmla="*/ 0 w 1939"/>
                <a:gd name="T47" fmla="*/ 123 h 2005"/>
                <a:gd name="T48" fmla="*/ 56 w 1939"/>
                <a:gd name="T49" fmla="*/ 2 h 2005"/>
                <a:gd name="T50" fmla="*/ 127 w 1939"/>
                <a:gd name="T51" fmla="*/ 6 h 2005"/>
                <a:gd name="T52" fmla="*/ 395 w 1939"/>
                <a:gd name="T53" fmla="*/ 6 h 2005"/>
                <a:gd name="T54" fmla="*/ 484 w 1939"/>
                <a:gd name="T55" fmla="*/ 0 h 2005"/>
                <a:gd name="T56" fmla="*/ 467 w 1939"/>
                <a:gd name="T57" fmla="*/ 212 h 2005"/>
                <a:gd name="T58" fmla="*/ 460 w 1939"/>
                <a:gd name="T59" fmla="*/ 520 h 2005"/>
                <a:gd name="T60" fmla="*/ 460 w 1939"/>
                <a:gd name="T61" fmla="*/ 836 h 2005"/>
                <a:gd name="T62" fmla="*/ 650 w 1939"/>
                <a:gd name="T63" fmla="*/ 840 h 2005"/>
                <a:gd name="T64" fmla="*/ 860 w 1939"/>
                <a:gd name="T65" fmla="*/ 849 h 2005"/>
                <a:gd name="T66" fmla="*/ 972 w 1939"/>
                <a:gd name="T67" fmla="*/ 849 h 2005"/>
                <a:gd name="T68" fmla="*/ 1439 w 1939"/>
                <a:gd name="T69" fmla="*/ 840 h 2005"/>
                <a:gd name="T70" fmla="*/ 1614 w 1939"/>
                <a:gd name="T71" fmla="*/ 836 h 2005"/>
                <a:gd name="T72" fmla="*/ 1614 w 1939"/>
                <a:gd name="T73" fmla="*/ 546 h 2005"/>
                <a:gd name="T74" fmla="*/ 1557 w 1939"/>
                <a:gd name="T75" fmla="*/ 2 h 2005"/>
                <a:gd name="T76" fmla="*/ 1629 w 1939"/>
                <a:gd name="T77" fmla="*/ 6 h 2005"/>
                <a:gd name="T78" fmla="*/ 1816 w 1939"/>
                <a:gd name="T79" fmla="*/ 6 h 2005"/>
                <a:gd name="T80" fmla="*/ 1907 w 1939"/>
                <a:gd name="T81" fmla="*/ 2 h 2005"/>
                <a:gd name="T82" fmla="*/ 1890 w 1939"/>
                <a:gd name="T83" fmla="*/ 212 h 2005"/>
                <a:gd name="T84" fmla="*/ 1884 w 1939"/>
                <a:gd name="T85" fmla="*/ 523 h 2005"/>
                <a:gd name="T86" fmla="*/ 1881 w 1939"/>
                <a:gd name="T87" fmla="*/ 1462 h 2005"/>
                <a:gd name="T88" fmla="*/ 1938 w 1939"/>
                <a:gd name="T89" fmla="*/ 2004 h 2005"/>
                <a:gd name="T90" fmla="*/ 1864 w 1939"/>
                <a:gd name="T91" fmla="*/ 1998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39" h="2005">
                  <a:moveTo>
                    <a:pt x="1864" y="1998"/>
                  </a:moveTo>
                  <a:lnTo>
                    <a:pt x="1864" y="1998"/>
                  </a:lnTo>
                  <a:cubicBezTo>
                    <a:pt x="1654" y="1998"/>
                    <a:pt x="1654" y="1998"/>
                    <a:pt x="1654" y="1998"/>
                  </a:cubicBezTo>
                  <a:cubicBezTo>
                    <a:pt x="1574" y="2004"/>
                    <a:pt x="1574" y="2004"/>
                    <a:pt x="1574" y="2004"/>
                  </a:cubicBezTo>
                  <a:cubicBezTo>
                    <a:pt x="1583" y="1948"/>
                    <a:pt x="1588" y="1903"/>
                    <a:pt x="1590" y="1875"/>
                  </a:cubicBezTo>
                  <a:cubicBezTo>
                    <a:pt x="1600" y="1808"/>
                    <a:pt x="1605" y="1739"/>
                    <a:pt x="1609" y="1668"/>
                  </a:cubicBezTo>
                  <a:cubicBezTo>
                    <a:pt x="1609" y="1659"/>
                    <a:pt x="1611" y="1590"/>
                    <a:pt x="1611" y="1458"/>
                  </a:cubicBezTo>
                  <a:cubicBezTo>
                    <a:pt x="1614" y="1030"/>
                    <a:pt x="1614" y="1030"/>
                    <a:pt x="1614" y="1030"/>
                  </a:cubicBezTo>
                  <a:cubicBezTo>
                    <a:pt x="1439" y="1026"/>
                    <a:pt x="1439" y="1026"/>
                    <a:pt x="1439" y="1026"/>
                  </a:cubicBezTo>
                  <a:cubicBezTo>
                    <a:pt x="1156" y="1019"/>
                    <a:pt x="1156" y="1019"/>
                    <a:pt x="1156" y="1019"/>
                  </a:cubicBezTo>
                  <a:cubicBezTo>
                    <a:pt x="860" y="1019"/>
                    <a:pt x="860" y="1019"/>
                    <a:pt x="860" y="1019"/>
                  </a:cubicBezTo>
                  <a:cubicBezTo>
                    <a:pt x="650" y="1026"/>
                    <a:pt x="650" y="1026"/>
                    <a:pt x="650" y="1026"/>
                  </a:cubicBezTo>
                  <a:cubicBezTo>
                    <a:pt x="458" y="1030"/>
                    <a:pt x="458" y="1030"/>
                    <a:pt x="458" y="1030"/>
                  </a:cubicBezTo>
                  <a:cubicBezTo>
                    <a:pt x="458" y="1462"/>
                    <a:pt x="458" y="1462"/>
                    <a:pt x="458" y="1462"/>
                  </a:cubicBezTo>
                  <a:cubicBezTo>
                    <a:pt x="458" y="1722"/>
                    <a:pt x="475" y="1881"/>
                    <a:pt x="516" y="2004"/>
                  </a:cubicBezTo>
                  <a:cubicBezTo>
                    <a:pt x="441" y="1998"/>
                    <a:pt x="441" y="1998"/>
                    <a:pt x="441" y="1998"/>
                  </a:cubicBezTo>
                  <a:cubicBezTo>
                    <a:pt x="231" y="1998"/>
                    <a:pt x="231" y="1998"/>
                    <a:pt x="231" y="1998"/>
                  </a:cubicBezTo>
                  <a:cubicBezTo>
                    <a:pt x="151" y="2004"/>
                    <a:pt x="151" y="2004"/>
                    <a:pt x="151" y="2004"/>
                  </a:cubicBezTo>
                  <a:cubicBezTo>
                    <a:pt x="158" y="1948"/>
                    <a:pt x="164" y="1903"/>
                    <a:pt x="168" y="1875"/>
                  </a:cubicBezTo>
                  <a:cubicBezTo>
                    <a:pt x="184" y="1752"/>
                    <a:pt x="188" y="1722"/>
                    <a:pt x="188" y="1458"/>
                  </a:cubicBezTo>
                  <a:cubicBezTo>
                    <a:pt x="190" y="512"/>
                    <a:pt x="190" y="512"/>
                    <a:pt x="190" y="512"/>
                  </a:cubicBezTo>
                  <a:cubicBezTo>
                    <a:pt x="190" y="371"/>
                    <a:pt x="184" y="270"/>
                    <a:pt x="171" y="212"/>
                  </a:cubicBezTo>
                  <a:cubicBezTo>
                    <a:pt x="156" y="153"/>
                    <a:pt x="114" y="123"/>
                    <a:pt x="30" y="123"/>
                  </a:cubicBezTo>
                  <a:cubicBezTo>
                    <a:pt x="0" y="123"/>
                    <a:pt x="0" y="123"/>
                    <a:pt x="0" y="123"/>
                  </a:cubicBezTo>
                  <a:cubicBezTo>
                    <a:pt x="56" y="2"/>
                    <a:pt x="56" y="2"/>
                    <a:pt x="56" y="2"/>
                  </a:cubicBezTo>
                  <a:cubicBezTo>
                    <a:pt x="127" y="6"/>
                    <a:pt x="127" y="6"/>
                    <a:pt x="127" y="6"/>
                  </a:cubicBezTo>
                  <a:cubicBezTo>
                    <a:pt x="395" y="6"/>
                    <a:pt x="395" y="6"/>
                    <a:pt x="395" y="6"/>
                  </a:cubicBezTo>
                  <a:cubicBezTo>
                    <a:pt x="484" y="0"/>
                    <a:pt x="484" y="0"/>
                    <a:pt x="484" y="0"/>
                  </a:cubicBezTo>
                  <a:cubicBezTo>
                    <a:pt x="475" y="95"/>
                    <a:pt x="469" y="164"/>
                    <a:pt x="467" y="212"/>
                  </a:cubicBezTo>
                  <a:cubicBezTo>
                    <a:pt x="464" y="253"/>
                    <a:pt x="460" y="356"/>
                    <a:pt x="460" y="520"/>
                  </a:cubicBezTo>
                  <a:cubicBezTo>
                    <a:pt x="460" y="836"/>
                    <a:pt x="460" y="836"/>
                    <a:pt x="460" y="836"/>
                  </a:cubicBezTo>
                  <a:cubicBezTo>
                    <a:pt x="650" y="840"/>
                    <a:pt x="650" y="840"/>
                    <a:pt x="650" y="840"/>
                  </a:cubicBezTo>
                  <a:cubicBezTo>
                    <a:pt x="860" y="849"/>
                    <a:pt x="860" y="849"/>
                    <a:pt x="860" y="849"/>
                  </a:cubicBezTo>
                  <a:cubicBezTo>
                    <a:pt x="972" y="849"/>
                    <a:pt x="972" y="849"/>
                    <a:pt x="972" y="849"/>
                  </a:cubicBezTo>
                  <a:cubicBezTo>
                    <a:pt x="1087" y="849"/>
                    <a:pt x="1156" y="845"/>
                    <a:pt x="1439" y="840"/>
                  </a:cubicBezTo>
                  <a:cubicBezTo>
                    <a:pt x="1614" y="836"/>
                    <a:pt x="1614" y="836"/>
                    <a:pt x="1614" y="836"/>
                  </a:cubicBezTo>
                  <a:cubicBezTo>
                    <a:pt x="1614" y="546"/>
                    <a:pt x="1614" y="546"/>
                    <a:pt x="1614" y="546"/>
                  </a:cubicBezTo>
                  <a:cubicBezTo>
                    <a:pt x="1614" y="285"/>
                    <a:pt x="1598" y="127"/>
                    <a:pt x="1557" y="2"/>
                  </a:cubicBezTo>
                  <a:cubicBezTo>
                    <a:pt x="1629" y="6"/>
                    <a:pt x="1629" y="6"/>
                    <a:pt x="1629" y="6"/>
                  </a:cubicBezTo>
                  <a:cubicBezTo>
                    <a:pt x="1816" y="6"/>
                    <a:pt x="1816" y="6"/>
                    <a:pt x="1816" y="6"/>
                  </a:cubicBezTo>
                  <a:cubicBezTo>
                    <a:pt x="1907" y="2"/>
                    <a:pt x="1907" y="2"/>
                    <a:pt x="1907" y="2"/>
                  </a:cubicBezTo>
                  <a:cubicBezTo>
                    <a:pt x="1899" y="95"/>
                    <a:pt x="1894" y="166"/>
                    <a:pt x="1890" y="212"/>
                  </a:cubicBezTo>
                  <a:cubicBezTo>
                    <a:pt x="1888" y="261"/>
                    <a:pt x="1884" y="365"/>
                    <a:pt x="1884" y="523"/>
                  </a:cubicBezTo>
                  <a:cubicBezTo>
                    <a:pt x="1881" y="1462"/>
                    <a:pt x="1881" y="1462"/>
                    <a:pt x="1881" y="1462"/>
                  </a:cubicBezTo>
                  <a:cubicBezTo>
                    <a:pt x="1881" y="1722"/>
                    <a:pt x="1899" y="1881"/>
                    <a:pt x="1938" y="2004"/>
                  </a:cubicBezTo>
                  <a:lnTo>
                    <a:pt x="1864" y="1998"/>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3" name="Freeform 34"/>
            <p:cNvSpPr>
              <a:spLocks noChangeArrowheads="1"/>
            </p:cNvSpPr>
            <p:nvPr/>
          </p:nvSpPr>
          <p:spPr bwMode="auto">
            <a:xfrm>
              <a:off x="5868988" y="1731962"/>
              <a:ext cx="434975" cy="434975"/>
            </a:xfrm>
            <a:custGeom>
              <a:avLst/>
              <a:gdLst>
                <a:gd name="T0" fmla="*/ 1332 w 1409"/>
                <a:gd name="T1" fmla="*/ 1402 h 1409"/>
                <a:gd name="T2" fmla="*/ 1332 w 1409"/>
                <a:gd name="T3" fmla="*/ 1402 h 1409"/>
                <a:gd name="T4" fmla="*/ 1160 w 1409"/>
                <a:gd name="T5" fmla="*/ 1402 h 1409"/>
                <a:gd name="T6" fmla="*/ 1078 w 1409"/>
                <a:gd name="T7" fmla="*/ 1408 h 1409"/>
                <a:gd name="T8" fmla="*/ 1099 w 1409"/>
                <a:gd name="T9" fmla="*/ 1279 h 1409"/>
                <a:gd name="T10" fmla="*/ 1118 w 1409"/>
                <a:gd name="T11" fmla="*/ 862 h 1409"/>
                <a:gd name="T12" fmla="*/ 1118 w 1409"/>
                <a:gd name="T13" fmla="*/ 652 h 1409"/>
                <a:gd name="T14" fmla="*/ 1088 w 1409"/>
                <a:gd name="T15" fmla="*/ 385 h 1409"/>
                <a:gd name="T16" fmla="*/ 807 w 1409"/>
                <a:gd name="T17" fmla="*/ 203 h 1409"/>
                <a:gd name="T18" fmla="*/ 527 w 1409"/>
                <a:gd name="T19" fmla="*/ 313 h 1409"/>
                <a:gd name="T20" fmla="*/ 401 w 1409"/>
                <a:gd name="T21" fmla="*/ 681 h 1409"/>
                <a:gd name="T22" fmla="*/ 401 w 1409"/>
                <a:gd name="T23" fmla="*/ 866 h 1409"/>
                <a:gd name="T24" fmla="*/ 458 w 1409"/>
                <a:gd name="T25" fmla="*/ 1408 h 1409"/>
                <a:gd name="T26" fmla="*/ 386 w 1409"/>
                <a:gd name="T27" fmla="*/ 1402 h 1409"/>
                <a:gd name="T28" fmla="*/ 211 w 1409"/>
                <a:gd name="T29" fmla="*/ 1402 h 1409"/>
                <a:gd name="T30" fmla="*/ 131 w 1409"/>
                <a:gd name="T31" fmla="*/ 1408 h 1409"/>
                <a:gd name="T32" fmla="*/ 151 w 1409"/>
                <a:gd name="T33" fmla="*/ 1279 h 1409"/>
                <a:gd name="T34" fmla="*/ 168 w 1409"/>
                <a:gd name="T35" fmla="*/ 862 h 1409"/>
                <a:gd name="T36" fmla="*/ 170 w 1409"/>
                <a:gd name="T37" fmla="*/ 545 h 1409"/>
                <a:gd name="T38" fmla="*/ 151 w 1409"/>
                <a:gd name="T39" fmla="*/ 246 h 1409"/>
                <a:gd name="T40" fmla="*/ 24 w 1409"/>
                <a:gd name="T41" fmla="*/ 158 h 1409"/>
                <a:gd name="T42" fmla="*/ 0 w 1409"/>
                <a:gd name="T43" fmla="*/ 158 h 1409"/>
                <a:gd name="T44" fmla="*/ 56 w 1409"/>
                <a:gd name="T45" fmla="*/ 45 h 1409"/>
                <a:gd name="T46" fmla="*/ 127 w 1409"/>
                <a:gd name="T47" fmla="*/ 45 h 1409"/>
                <a:gd name="T48" fmla="*/ 300 w 1409"/>
                <a:gd name="T49" fmla="*/ 33 h 1409"/>
                <a:gd name="T50" fmla="*/ 391 w 1409"/>
                <a:gd name="T51" fmla="*/ 26 h 1409"/>
                <a:gd name="T52" fmla="*/ 386 w 1409"/>
                <a:gd name="T53" fmla="*/ 277 h 1409"/>
                <a:gd name="T54" fmla="*/ 501 w 1409"/>
                <a:gd name="T55" fmla="*/ 180 h 1409"/>
                <a:gd name="T56" fmla="*/ 930 w 1409"/>
                <a:gd name="T57" fmla="*/ 0 h 1409"/>
                <a:gd name="T58" fmla="*/ 1293 w 1409"/>
                <a:gd name="T59" fmla="*/ 190 h 1409"/>
                <a:gd name="T60" fmla="*/ 1337 w 1409"/>
                <a:gd name="T61" fmla="*/ 318 h 1409"/>
                <a:gd name="T62" fmla="*/ 1350 w 1409"/>
                <a:gd name="T63" fmla="*/ 540 h 1409"/>
                <a:gd name="T64" fmla="*/ 1350 w 1409"/>
                <a:gd name="T65" fmla="*/ 866 h 1409"/>
                <a:gd name="T66" fmla="*/ 1408 w 1409"/>
                <a:gd name="T67" fmla="*/ 1408 h 1409"/>
                <a:gd name="T68" fmla="*/ 1332 w 1409"/>
                <a:gd name="T69" fmla="*/ 1402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09" h="1409">
                  <a:moveTo>
                    <a:pt x="1332" y="1402"/>
                  </a:moveTo>
                  <a:lnTo>
                    <a:pt x="1332" y="1402"/>
                  </a:lnTo>
                  <a:cubicBezTo>
                    <a:pt x="1160" y="1402"/>
                    <a:pt x="1160" y="1402"/>
                    <a:pt x="1160" y="1402"/>
                  </a:cubicBezTo>
                  <a:cubicBezTo>
                    <a:pt x="1078" y="1408"/>
                    <a:pt x="1078" y="1408"/>
                    <a:pt x="1078" y="1408"/>
                  </a:cubicBezTo>
                  <a:cubicBezTo>
                    <a:pt x="1088" y="1352"/>
                    <a:pt x="1097" y="1307"/>
                    <a:pt x="1099" y="1279"/>
                  </a:cubicBezTo>
                  <a:cubicBezTo>
                    <a:pt x="1108" y="1210"/>
                    <a:pt x="1118" y="1035"/>
                    <a:pt x="1118" y="862"/>
                  </a:cubicBezTo>
                  <a:cubicBezTo>
                    <a:pt x="1118" y="652"/>
                    <a:pt x="1118" y="652"/>
                    <a:pt x="1118" y="652"/>
                  </a:cubicBezTo>
                  <a:cubicBezTo>
                    <a:pt x="1118" y="529"/>
                    <a:pt x="1108" y="443"/>
                    <a:pt x="1088" y="385"/>
                  </a:cubicBezTo>
                  <a:cubicBezTo>
                    <a:pt x="1051" y="275"/>
                    <a:pt x="939" y="203"/>
                    <a:pt x="807" y="203"/>
                  </a:cubicBezTo>
                  <a:cubicBezTo>
                    <a:pt x="708" y="203"/>
                    <a:pt x="605" y="240"/>
                    <a:pt x="527" y="313"/>
                  </a:cubicBezTo>
                  <a:cubicBezTo>
                    <a:pt x="429" y="398"/>
                    <a:pt x="401" y="480"/>
                    <a:pt x="401" y="681"/>
                  </a:cubicBezTo>
                  <a:cubicBezTo>
                    <a:pt x="401" y="866"/>
                    <a:pt x="401" y="866"/>
                    <a:pt x="401" y="866"/>
                  </a:cubicBezTo>
                  <a:cubicBezTo>
                    <a:pt x="401" y="1126"/>
                    <a:pt x="417" y="1285"/>
                    <a:pt x="458" y="1408"/>
                  </a:cubicBezTo>
                  <a:cubicBezTo>
                    <a:pt x="386" y="1402"/>
                    <a:pt x="386" y="1402"/>
                    <a:pt x="386" y="1402"/>
                  </a:cubicBezTo>
                  <a:cubicBezTo>
                    <a:pt x="211" y="1402"/>
                    <a:pt x="211" y="1402"/>
                    <a:pt x="211" y="1402"/>
                  </a:cubicBezTo>
                  <a:cubicBezTo>
                    <a:pt x="131" y="1408"/>
                    <a:pt x="131" y="1408"/>
                    <a:pt x="131" y="1408"/>
                  </a:cubicBezTo>
                  <a:cubicBezTo>
                    <a:pt x="142" y="1352"/>
                    <a:pt x="147" y="1307"/>
                    <a:pt x="151" y="1279"/>
                  </a:cubicBezTo>
                  <a:cubicBezTo>
                    <a:pt x="159" y="1210"/>
                    <a:pt x="168" y="1015"/>
                    <a:pt x="168" y="862"/>
                  </a:cubicBezTo>
                  <a:cubicBezTo>
                    <a:pt x="170" y="545"/>
                    <a:pt x="170" y="545"/>
                    <a:pt x="170" y="545"/>
                  </a:cubicBezTo>
                  <a:cubicBezTo>
                    <a:pt x="170" y="404"/>
                    <a:pt x="162" y="303"/>
                    <a:pt x="151" y="246"/>
                  </a:cubicBezTo>
                  <a:cubicBezTo>
                    <a:pt x="136" y="186"/>
                    <a:pt x="93" y="158"/>
                    <a:pt x="24" y="158"/>
                  </a:cubicBezTo>
                  <a:cubicBezTo>
                    <a:pt x="0" y="158"/>
                    <a:pt x="0" y="158"/>
                    <a:pt x="0" y="158"/>
                  </a:cubicBezTo>
                  <a:cubicBezTo>
                    <a:pt x="56" y="45"/>
                    <a:pt x="56" y="45"/>
                    <a:pt x="56" y="45"/>
                  </a:cubicBezTo>
                  <a:cubicBezTo>
                    <a:pt x="127" y="45"/>
                    <a:pt x="127" y="45"/>
                    <a:pt x="127" y="45"/>
                  </a:cubicBezTo>
                  <a:cubicBezTo>
                    <a:pt x="300" y="33"/>
                    <a:pt x="300" y="33"/>
                    <a:pt x="300" y="33"/>
                  </a:cubicBezTo>
                  <a:cubicBezTo>
                    <a:pt x="391" y="26"/>
                    <a:pt x="391" y="26"/>
                    <a:pt x="391" y="26"/>
                  </a:cubicBezTo>
                  <a:cubicBezTo>
                    <a:pt x="386" y="277"/>
                    <a:pt x="386" y="277"/>
                    <a:pt x="386" y="277"/>
                  </a:cubicBezTo>
                  <a:cubicBezTo>
                    <a:pt x="501" y="180"/>
                    <a:pt x="501" y="180"/>
                    <a:pt x="501" y="180"/>
                  </a:cubicBezTo>
                  <a:cubicBezTo>
                    <a:pt x="656" y="48"/>
                    <a:pt x="782" y="0"/>
                    <a:pt x="930" y="0"/>
                  </a:cubicBezTo>
                  <a:cubicBezTo>
                    <a:pt x="1092" y="0"/>
                    <a:pt x="1220" y="69"/>
                    <a:pt x="1293" y="190"/>
                  </a:cubicBezTo>
                  <a:cubicBezTo>
                    <a:pt x="1315" y="229"/>
                    <a:pt x="1330" y="272"/>
                    <a:pt x="1337" y="318"/>
                  </a:cubicBezTo>
                  <a:cubicBezTo>
                    <a:pt x="1350" y="380"/>
                    <a:pt x="1350" y="409"/>
                    <a:pt x="1350" y="540"/>
                  </a:cubicBezTo>
                  <a:cubicBezTo>
                    <a:pt x="1350" y="866"/>
                    <a:pt x="1350" y="866"/>
                    <a:pt x="1350" y="866"/>
                  </a:cubicBezTo>
                  <a:cubicBezTo>
                    <a:pt x="1350" y="1126"/>
                    <a:pt x="1367" y="1285"/>
                    <a:pt x="1408" y="1408"/>
                  </a:cubicBezTo>
                  <a:lnTo>
                    <a:pt x="1332" y="1402"/>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4" name="Freeform 35"/>
            <p:cNvSpPr>
              <a:spLocks noChangeArrowheads="1"/>
            </p:cNvSpPr>
            <p:nvPr/>
          </p:nvSpPr>
          <p:spPr bwMode="auto">
            <a:xfrm>
              <a:off x="5656263" y="1739899"/>
              <a:ext cx="141287" cy="427038"/>
            </a:xfrm>
            <a:custGeom>
              <a:avLst/>
              <a:gdLst>
                <a:gd name="T0" fmla="*/ 386 w 459"/>
                <a:gd name="T1" fmla="*/ 1376 h 1383"/>
                <a:gd name="T2" fmla="*/ 386 w 459"/>
                <a:gd name="T3" fmla="*/ 1376 h 1383"/>
                <a:gd name="T4" fmla="*/ 211 w 459"/>
                <a:gd name="T5" fmla="*/ 1376 h 1383"/>
                <a:gd name="T6" fmla="*/ 130 w 459"/>
                <a:gd name="T7" fmla="*/ 1382 h 1383"/>
                <a:gd name="T8" fmla="*/ 149 w 459"/>
                <a:gd name="T9" fmla="*/ 1253 h 1383"/>
                <a:gd name="T10" fmla="*/ 168 w 459"/>
                <a:gd name="T11" fmla="*/ 836 h 1383"/>
                <a:gd name="T12" fmla="*/ 170 w 459"/>
                <a:gd name="T13" fmla="*/ 519 h 1383"/>
                <a:gd name="T14" fmla="*/ 149 w 459"/>
                <a:gd name="T15" fmla="*/ 220 h 1383"/>
                <a:gd name="T16" fmla="*/ 22 w 459"/>
                <a:gd name="T17" fmla="*/ 132 h 1383"/>
                <a:gd name="T18" fmla="*/ 0 w 459"/>
                <a:gd name="T19" fmla="*/ 132 h 1383"/>
                <a:gd name="T20" fmla="*/ 56 w 459"/>
                <a:gd name="T21" fmla="*/ 19 h 1383"/>
                <a:gd name="T22" fmla="*/ 127 w 459"/>
                <a:gd name="T23" fmla="*/ 17 h 1383"/>
                <a:gd name="T24" fmla="*/ 337 w 459"/>
                <a:gd name="T25" fmla="*/ 5 h 1383"/>
                <a:gd name="T26" fmla="*/ 427 w 459"/>
                <a:gd name="T27" fmla="*/ 0 h 1383"/>
                <a:gd name="T28" fmla="*/ 402 w 459"/>
                <a:gd name="T29" fmla="*/ 478 h 1383"/>
                <a:gd name="T30" fmla="*/ 401 w 459"/>
                <a:gd name="T31" fmla="*/ 840 h 1383"/>
                <a:gd name="T32" fmla="*/ 458 w 459"/>
                <a:gd name="T33" fmla="*/ 1382 h 1383"/>
                <a:gd name="T34" fmla="*/ 386 w 459"/>
                <a:gd name="T35" fmla="*/ 1376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9" h="1383">
                  <a:moveTo>
                    <a:pt x="386" y="1376"/>
                  </a:moveTo>
                  <a:lnTo>
                    <a:pt x="386" y="1376"/>
                  </a:lnTo>
                  <a:cubicBezTo>
                    <a:pt x="211" y="1376"/>
                    <a:pt x="211" y="1376"/>
                    <a:pt x="211" y="1376"/>
                  </a:cubicBezTo>
                  <a:cubicBezTo>
                    <a:pt x="130" y="1382"/>
                    <a:pt x="130" y="1382"/>
                    <a:pt x="130" y="1382"/>
                  </a:cubicBezTo>
                  <a:cubicBezTo>
                    <a:pt x="142" y="1326"/>
                    <a:pt x="147" y="1281"/>
                    <a:pt x="149" y="1253"/>
                  </a:cubicBezTo>
                  <a:cubicBezTo>
                    <a:pt x="158" y="1184"/>
                    <a:pt x="168" y="989"/>
                    <a:pt x="168" y="836"/>
                  </a:cubicBezTo>
                  <a:cubicBezTo>
                    <a:pt x="170" y="519"/>
                    <a:pt x="170" y="519"/>
                    <a:pt x="170" y="519"/>
                  </a:cubicBezTo>
                  <a:cubicBezTo>
                    <a:pt x="170" y="378"/>
                    <a:pt x="162" y="277"/>
                    <a:pt x="149" y="220"/>
                  </a:cubicBezTo>
                  <a:cubicBezTo>
                    <a:pt x="136" y="160"/>
                    <a:pt x="93" y="132"/>
                    <a:pt x="22" y="132"/>
                  </a:cubicBezTo>
                  <a:cubicBezTo>
                    <a:pt x="0" y="132"/>
                    <a:pt x="0" y="132"/>
                    <a:pt x="0" y="132"/>
                  </a:cubicBezTo>
                  <a:cubicBezTo>
                    <a:pt x="56" y="19"/>
                    <a:pt x="56" y="19"/>
                    <a:pt x="56" y="19"/>
                  </a:cubicBezTo>
                  <a:cubicBezTo>
                    <a:pt x="127" y="17"/>
                    <a:pt x="127" y="17"/>
                    <a:pt x="127" y="17"/>
                  </a:cubicBezTo>
                  <a:cubicBezTo>
                    <a:pt x="337" y="5"/>
                    <a:pt x="337" y="5"/>
                    <a:pt x="337" y="5"/>
                  </a:cubicBezTo>
                  <a:cubicBezTo>
                    <a:pt x="427" y="0"/>
                    <a:pt x="427" y="0"/>
                    <a:pt x="427" y="0"/>
                  </a:cubicBezTo>
                  <a:cubicBezTo>
                    <a:pt x="408" y="249"/>
                    <a:pt x="402" y="354"/>
                    <a:pt x="402" y="478"/>
                  </a:cubicBezTo>
                  <a:cubicBezTo>
                    <a:pt x="401" y="840"/>
                    <a:pt x="401" y="840"/>
                    <a:pt x="401" y="840"/>
                  </a:cubicBezTo>
                  <a:cubicBezTo>
                    <a:pt x="397" y="1100"/>
                    <a:pt x="417" y="1259"/>
                    <a:pt x="458" y="1382"/>
                  </a:cubicBezTo>
                  <a:lnTo>
                    <a:pt x="386" y="1376"/>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5" name="Freeform 36"/>
            <p:cNvSpPr>
              <a:spLocks noChangeArrowheads="1"/>
            </p:cNvSpPr>
            <p:nvPr/>
          </p:nvSpPr>
          <p:spPr bwMode="auto">
            <a:xfrm>
              <a:off x="5337175" y="1731962"/>
              <a:ext cx="295275" cy="434975"/>
            </a:xfrm>
            <a:custGeom>
              <a:avLst/>
              <a:gdLst>
                <a:gd name="T0" fmla="*/ 933 w 958"/>
                <a:gd name="T1" fmla="*/ 113 h 1409"/>
                <a:gd name="T2" fmla="*/ 933 w 958"/>
                <a:gd name="T3" fmla="*/ 113 h 1409"/>
                <a:gd name="T4" fmla="*/ 888 w 958"/>
                <a:gd name="T5" fmla="*/ 316 h 1409"/>
                <a:gd name="T6" fmla="*/ 855 w 958"/>
                <a:gd name="T7" fmla="*/ 322 h 1409"/>
                <a:gd name="T8" fmla="*/ 719 w 958"/>
                <a:gd name="T9" fmla="*/ 261 h 1409"/>
                <a:gd name="T10" fmla="*/ 484 w 958"/>
                <a:gd name="T11" fmla="*/ 423 h 1409"/>
                <a:gd name="T12" fmla="*/ 421 w 958"/>
                <a:gd name="T13" fmla="*/ 763 h 1409"/>
                <a:gd name="T14" fmla="*/ 421 w 958"/>
                <a:gd name="T15" fmla="*/ 866 h 1409"/>
                <a:gd name="T16" fmla="*/ 476 w 958"/>
                <a:gd name="T17" fmla="*/ 1408 h 1409"/>
                <a:gd name="T18" fmla="*/ 406 w 958"/>
                <a:gd name="T19" fmla="*/ 1402 h 1409"/>
                <a:gd name="T20" fmla="*/ 232 w 958"/>
                <a:gd name="T21" fmla="*/ 1402 h 1409"/>
                <a:gd name="T22" fmla="*/ 149 w 958"/>
                <a:gd name="T23" fmla="*/ 1408 h 1409"/>
                <a:gd name="T24" fmla="*/ 167 w 958"/>
                <a:gd name="T25" fmla="*/ 1279 h 1409"/>
                <a:gd name="T26" fmla="*/ 186 w 958"/>
                <a:gd name="T27" fmla="*/ 862 h 1409"/>
                <a:gd name="T28" fmla="*/ 190 w 958"/>
                <a:gd name="T29" fmla="*/ 566 h 1409"/>
                <a:gd name="T30" fmla="*/ 162 w 958"/>
                <a:gd name="T31" fmla="*/ 244 h 1409"/>
                <a:gd name="T32" fmla="*/ 22 w 958"/>
                <a:gd name="T33" fmla="*/ 158 h 1409"/>
                <a:gd name="T34" fmla="*/ 0 w 958"/>
                <a:gd name="T35" fmla="*/ 158 h 1409"/>
                <a:gd name="T36" fmla="*/ 54 w 958"/>
                <a:gd name="T37" fmla="*/ 45 h 1409"/>
                <a:gd name="T38" fmla="*/ 126 w 958"/>
                <a:gd name="T39" fmla="*/ 45 h 1409"/>
                <a:gd name="T40" fmla="*/ 281 w 958"/>
                <a:gd name="T41" fmla="*/ 33 h 1409"/>
                <a:gd name="T42" fmla="*/ 395 w 958"/>
                <a:gd name="T43" fmla="*/ 26 h 1409"/>
                <a:gd name="T44" fmla="*/ 389 w 958"/>
                <a:gd name="T45" fmla="*/ 356 h 1409"/>
                <a:gd name="T46" fmla="*/ 484 w 958"/>
                <a:gd name="T47" fmla="*/ 238 h 1409"/>
                <a:gd name="T48" fmla="*/ 849 w 958"/>
                <a:gd name="T49" fmla="*/ 0 h 1409"/>
                <a:gd name="T50" fmla="*/ 957 w 958"/>
                <a:gd name="T51" fmla="*/ 26 h 1409"/>
                <a:gd name="T52" fmla="*/ 933 w 958"/>
                <a:gd name="T53" fmla="*/ 113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58" h="1409">
                  <a:moveTo>
                    <a:pt x="933" y="113"/>
                  </a:moveTo>
                  <a:lnTo>
                    <a:pt x="933" y="113"/>
                  </a:lnTo>
                  <a:cubicBezTo>
                    <a:pt x="888" y="316"/>
                    <a:pt x="888" y="316"/>
                    <a:pt x="888" y="316"/>
                  </a:cubicBezTo>
                  <a:cubicBezTo>
                    <a:pt x="855" y="322"/>
                    <a:pt x="855" y="322"/>
                    <a:pt x="855" y="322"/>
                  </a:cubicBezTo>
                  <a:cubicBezTo>
                    <a:pt x="819" y="277"/>
                    <a:pt x="780" y="261"/>
                    <a:pt x="719" y="261"/>
                  </a:cubicBezTo>
                  <a:cubicBezTo>
                    <a:pt x="629" y="261"/>
                    <a:pt x="547" y="318"/>
                    <a:pt x="484" y="423"/>
                  </a:cubicBezTo>
                  <a:cubicBezTo>
                    <a:pt x="432" y="508"/>
                    <a:pt x="421" y="562"/>
                    <a:pt x="421" y="763"/>
                  </a:cubicBezTo>
                  <a:cubicBezTo>
                    <a:pt x="421" y="866"/>
                    <a:pt x="421" y="866"/>
                    <a:pt x="421" y="866"/>
                  </a:cubicBezTo>
                  <a:cubicBezTo>
                    <a:pt x="421" y="1126"/>
                    <a:pt x="437" y="1285"/>
                    <a:pt x="476" y="1408"/>
                  </a:cubicBezTo>
                  <a:cubicBezTo>
                    <a:pt x="406" y="1402"/>
                    <a:pt x="406" y="1402"/>
                    <a:pt x="406" y="1402"/>
                  </a:cubicBezTo>
                  <a:cubicBezTo>
                    <a:pt x="232" y="1402"/>
                    <a:pt x="232" y="1402"/>
                    <a:pt x="232" y="1402"/>
                  </a:cubicBezTo>
                  <a:cubicBezTo>
                    <a:pt x="149" y="1408"/>
                    <a:pt x="149" y="1408"/>
                    <a:pt x="149" y="1408"/>
                  </a:cubicBezTo>
                  <a:cubicBezTo>
                    <a:pt x="158" y="1352"/>
                    <a:pt x="164" y="1307"/>
                    <a:pt x="167" y="1279"/>
                  </a:cubicBezTo>
                  <a:cubicBezTo>
                    <a:pt x="175" y="1210"/>
                    <a:pt x="184" y="1015"/>
                    <a:pt x="186" y="862"/>
                  </a:cubicBezTo>
                  <a:cubicBezTo>
                    <a:pt x="190" y="566"/>
                    <a:pt x="190" y="566"/>
                    <a:pt x="190" y="566"/>
                  </a:cubicBezTo>
                  <a:cubicBezTo>
                    <a:pt x="190" y="430"/>
                    <a:pt x="179" y="303"/>
                    <a:pt x="162" y="244"/>
                  </a:cubicBezTo>
                  <a:cubicBezTo>
                    <a:pt x="143" y="184"/>
                    <a:pt x="100" y="158"/>
                    <a:pt x="22" y="158"/>
                  </a:cubicBezTo>
                  <a:cubicBezTo>
                    <a:pt x="0" y="158"/>
                    <a:pt x="0" y="158"/>
                    <a:pt x="0" y="158"/>
                  </a:cubicBezTo>
                  <a:cubicBezTo>
                    <a:pt x="54" y="45"/>
                    <a:pt x="54" y="45"/>
                    <a:pt x="54" y="45"/>
                  </a:cubicBezTo>
                  <a:cubicBezTo>
                    <a:pt x="126" y="45"/>
                    <a:pt x="126" y="45"/>
                    <a:pt x="126" y="45"/>
                  </a:cubicBezTo>
                  <a:cubicBezTo>
                    <a:pt x="281" y="33"/>
                    <a:pt x="281" y="33"/>
                    <a:pt x="281" y="33"/>
                  </a:cubicBezTo>
                  <a:cubicBezTo>
                    <a:pt x="395" y="26"/>
                    <a:pt x="395" y="26"/>
                    <a:pt x="395" y="26"/>
                  </a:cubicBezTo>
                  <a:cubicBezTo>
                    <a:pt x="389" y="356"/>
                    <a:pt x="389" y="356"/>
                    <a:pt x="389" y="356"/>
                  </a:cubicBezTo>
                  <a:cubicBezTo>
                    <a:pt x="484" y="238"/>
                    <a:pt x="484" y="238"/>
                    <a:pt x="484" y="238"/>
                  </a:cubicBezTo>
                  <a:cubicBezTo>
                    <a:pt x="627" y="58"/>
                    <a:pt x="717" y="0"/>
                    <a:pt x="849" y="0"/>
                  </a:cubicBezTo>
                  <a:cubicBezTo>
                    <a:pt x="892" y="0"/>
                    <a:pt x="912" y="2"/>
                    <a:pt x="957" y="26"/>
                  </a:cubicBezTo>
                  <a:lnTo>
                    <a:pt x="933" y="113"/>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6" name="Freeform 37"/>
            <p:cNvSpPr>
              <a:spLocks noChangeArrowheads="1"/>
            </p:cNvSpPr>
            <p:nvPr/>
          </p:nvSpPr>
          <p:spPr bwMode="auto">
            <a:xfrm>
              <a:off x="4953000" y="1731962"/>
              <a:ext cx="369888" cy="446087"/>
            </a:xfrm>
            <a:custGeom>
              <a:avLst/>
              <a:gdLst>
                <a:gd name="T0" fmla="*/ 778 w 1197"/>
                <a:gd name="T1" fmla="*/ 877 h 1453"/>
                <a:gd name="T2" fmla="*/ 778 w 1197"/>
                <a:gd name="T3" fmla="*/ 877 h 1453"/>
                <a:gd name="T4" fmla="*/ 773 w 1197"/>
                <a:gd name="T5" fmla="*/ 748 h 1453"/>
                <a:gd name="T6" fmla="*/ 386 w 1197"/>
                <a:gd name="T7" fmla="*/ 825 h 1453"/>
                <a:gd name="T8" fmla="*/ 250 w 1197"/>
                <a:gd name="T9" fmla="*/ 1035 h 1453"/>
                <a:gd name="T10" fmla="*/ 466 w 1197"/>
                <a:gd name="T11" fmla="*/ 1266 h 1453"/>
                <a:gd name="T12" fmla="*/ 657 w 1197"/>
                <a:gd name="T13" fmla="*/ 1193 h 1453"/>
                <a:gd name="T14" fmla="*/ 778 w 1197"/>
                <a:gd name="T15" fmla="*/ 914 h 1453"/>
                <a:gd name="T16" fmla="*/ 778 w 1197"/>
                <a:gd name="T17" fmla="*/ 877 h 1453"/>
                <a:gd name="T18" fmla="*/ 1142 w 1197"/>
                <a:gd name="T19" fmla="*/ 1404 h 1453"/>
                <a:gd name="T20" fmla="*/ 1142 w 1197"/>
                <a:gd name="T21" fmla="*/ 1404 h 1453"/>
                <a:gd name="T22" fmla="*/ 1069 w 1197"/>
                <a:gd name="T23" fmla="*/ 1404 h 1453"/>
                <a:gd name="T24" fmla="*/ 911 w 1197"/>
                <a:gd name="T25" fmla="*/ 1415 h 1453"/>
                <a:gd name="T26" fmla="*/ 819 w 1197"/>
                <a:gd name="T27" fmla="*/ 1424 h 1453"/>
                <a:gd name="T28" fmla="*/ 810 w 1197"/>
                <a:gd name="T29" fmla="*/ 1210 h 1453"/>
                <a:gd name="T30" fmla="*/ 702 w 1197"/>
                <a:gd name="T31" fmla="*/ 1305 h 1453"/>
                <a:gd name="T32" fmla="*/ 356 w 1197"/>
                <a:gd name="T33" fmla="*/ 1452 h 1453"/>
                <a:gd name="T34" fmla="*/ 0 w 1197"/>
                <a:gd name="T35" fmla="*/ 1078 h 1453"/>
                <a:gd name="T36" fmla="*/ 149 w 1197"/>
                <a:gd name="T37" fmla="*/ 771 h 1453"/>
                <a:gd name="T38" fmla="*/ 613 w 1197"/>
                <a:gd name="T39" fmla="*/ 633 h 1453"/>
                <a:gd name="T40" fmla="*/ 773 w 1197"/>
                <a:gd name="T41" fmla="*/ 510 h 1453"/>
                <a:gd name="T42" fmla="*/ 708 w 1197"/>
                <a:gd name="T43" fmla="*/ 251 h 1453"/>
                <a:gd name="T44" fmla="*/ 482 w 1197"/>
                <a:gd name="T45" fmla="*/ 169 h 1453"/>
                <a:gd name="T46" fmla="*/ 335 w 1197"/>
                <a:gd name="T47" fmla="*/ 195 h 1453"/>
                <a:gd name="T48" fmla="*/ 190 w 1197"/>
                <a:gd name="T49" fmla="*/ 309 h 1453"/>
                <a:gd name="T50" fmla="*/ 158 w 1197"/>
                <a:gd name="T51" fmla="*/ 301 h 1453"/>
                <a:gd name="T52" fmla="*/ 166 w 1197"/>
                <a:gd name="T53" fmla="*/ 195 h 1453"/>
                <a:gd name="T54" fmla="*/ 170 w 1197"/>
                <a:gd name="T55" fmla="*/ 93 h 1453"/>
                <a:gd name="T56" fmla="*/ 417 w 1197"/>
                <a:gd name="T57" fmla="*/ 15 h 1453"/>
                <a:gd name="T58" fmla="*/ 572 w 1197"/>
                <a:gd name="T59" fmla="*/ 0 h 1453"/>
                <a:gd name="T60" fmla="*/ 1009 w 1197"/>
                <a:gd name="T61" fmla="*/ 370 h 1453"/>
                <a:gd name="T62" fmla="*/ 1006 w 1197"/>
                <a:gd name="T63" fmla="*/ 517 h 1453"/>
                <a:gd name="T64" fmla="*/ 1006 w 1197"/>
                <a:gd name="T65" fmla="*/ 882 h 1453"/>
                <a:gd name="T66" fmla="*/ 1037 w 1197"/>
                <a:gd name="T67" fmla="*/ 1208 h 1453"/>
                <a:gd name="T68" fmla="*/ 1169 w 1197"/>
                <a:gd name="T69" fmla="*/ 1292 h 1453"/>
                <a:gd name="T70" fmla="*/ 1196 w 1197"/>
                <a:gd name="T71" fmla="*/ 1292 h 1453"/>
                <a:gd name="T72" fmla="*/ 1142 w 1197"/>
                <a:gd name="T73" fmla="*/ 1404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7" h="1453">
                  <a:moveTo>
                    <a:pt x="778" y="877"/>
                  </a:moveTo>
                  <a:lnTo>
                    <a:pt x="778" y="877"/>
                  </a:lnTo>
                  <a:cubicBezTo>
                    <a:pt x="773" y="748"/>
                    <a:pt x="773" y="748"/>
                    <a:pt x="773" y="748"/>
                  </a:cubicBezTo>
                  <a:cubicBezTo>
                    <a:pt x="540" y="769"/>
                    <a:pt x="466" y="782"/>
                    <a:pt x="386" y="825"/>
                  </a:cubicBezTo>
                  <a:cubicBezTo>
                    <a:pt x="298" y="869"/>
                    <a:pt x="250" y="944"/>
                    <a:pt x="250" y="1035"/>
                  </a:cubicBezTo>
                  <a:cubicBezTo>
                    <a:pt x="250" y="1173"/>
                    <a:pt x="339" y="1266"/>
                    <a:pt x="466" y="1266"/>
                  </a:cubicBezTo>
                  <a:cubicBezTo>
                    <a:pt x="533" y="1266"/>
                    <a:pt x="594" y="1242"/>
                    <a:pt x="657" y="1193"/>
                  </a:cubicBezTo>
                  <a:cubicBezTo>
                    <a:pt x="751" y="1123"/>
                    <a:pt x="778" y="1059"/>
                    <a:pt x="778" y="914"/>
                  </a:cubicBezTo>
                  <a:lnTo>
                    <a:pt x="778" y="877"/>
                  </a:lnTo>
                  <a:close/>
                  <a:moveTo>
                    <a:pt x="1142" y="1404"/>
                  </a:moveTo>
                  <a:lnTo>
                    <a:pt x="1142" y="1404"/>
                  </a:lnTo>
                  <a:cubicBezTo>
                    <a:pt x="1069" y="1404"/>
                    <a:pt x="1069" y="1404"/>
                    <a:pt x="1069" y="1404"/>
                  </a:cubicBezTo>
                  <a:cubicBezTo>
                    <a:pt x="911" y="1415"/>
                    <a:pt x="911" y="1415"/>
                    <a:pt x="911" y="1415"/>
                  </a:cubicBezTo>
                  <a:cubicBezTo>
                    <a:pt x="819" y="1424"/>
                    <a:pt x="819" y="1424"/>
                    <a:pt x="819" y="1424"/>
                  </a:cubicBezTo>
                  <a:cubicBezTo>
                    <a:pt x="810" y="1210"/>
                    <a:pt x="810" y="1210"/>
                    <a:pt x="810" y="1210"/>
                  </a:cubicBezTo>
                  <a:cubicBezTo>
                    <a:pt x="702" y="1305"/>
                    <a:pt x="702" y="1305"/>
                    <a:pt x="702" y="1305"/>
                  </a:cubicBezTo>
                  <a:cubicBezTo>
                    <a:pt x="581" y="1413"/>
                    <a:pt x="481" y="1452"/>
                    <a:pt x="356" y="1452"/>
                  </a:cubicBezTo>
                  <a:cubicBezTo>
                    <a:pt x="140" y="1452"/>
                    <a:pt x="0" y="1303"/>
                    <a:pt x="0" y="1078"/>
                  </a:cubicBezTo>
                  <a:cubicBezTo>
                    <a:pt x="0" y="949"/>
                    <a:pt x="52" y="843"/>
                    <a:pt x="149" y="771"/>
                  </a:cubicBezTo>
                  <a:cubicBezTo>
                    <a:pt x="235" y="707"/>
                    <a:pt x="391" y="661"/>
                    <a:pt x="613" y="633"/>
                  </a:cubicBezTo>
                  <a:cubicBezTo>
                    <a:pt x="765" y="612"/>
                    <a:pt x="773" y="607"/>
                    <a:pt x="773" y="510"/>
                  </a:cubicBezTo>
                  <a:cubicBezTo>
                    <a:pt x="773" y="357"/>
                    <a:pt x="758" y="305"/>
                    <a:pt x="708" y="251"/>
                  </a:cubicBezTo>
                  <a:cubicBezTo>
                    <a:pt x="657" y="199"/>
                    <a:pt x="577" y="169"/>
                    <a:pt x="482" y="169"/>
                  </a:cubicBezTo>
                  <a:cubicBezTo>
                    <a:pt x="434" y="169"/>
                    <a:pt x="386" y="178"/>
                    <a:pt x="335" y="195"/>
                  </a:cubicBezTo>
                  <a:cubicBezTo>
                    <a:pt x="270" y="219"/>
                    <a:pt x="238" y="244"/>
                    <a:pt x="190" y="309"/>
                  </a:cubicBezTo>
                  <a:cubicBezTo>
                    <a:pt x="158" y="301"/>
                    <a:pt x="158" y="301"/>
                    <a:pt x="158" y="301"/>
                  </a:cubicBezTo>
                  <a:cubicBezTo>
                    <a:pt x="166" y="195"/>
                    <a:pt x="166" y="195"/>
                    <a:pt x="166" y="195"/>
                  </a:cubicBezTo>
                  <a:cubicBezTo>
                    <a:pt x="170" y="93"/>
                    <a:pt x="170" y="93"/>
                    <a:pt x="170" y="93"/>
                  </a:cubicBezTo>
                  <a:cubicBezTo>
                    <a:pt x="279" y="43"/>
                    <a:pt x="322" y="29"/>
                    <a:pt x="417" y="15"/>
                  </a:cubicBezTo>
                  <a:cubicBezTo>
                    <a:pt x="477" y="3"/>
                    <a:pt x="523" y="0"/>
                    <a:pt x="572" y="0"/>
                  </a:cubicBezTo>
                  <a:cubicBezTo>
                    <a:pt x="862" y="0"/>
                    <a:pt x="1015" y="124"/>
                    <a:pt x="1009" y="370"/>
                  </a:cubicBezTo>
                  <a:cubicBezTo>
                    <a:pt x="1006" y="517"/>
                    <a:pt x="1006" y="517"/>
                    <a:pt x="1006" y="517"/>
                  </a:cubicBezTo>
                  <a:cubicBezTo>
                    <a:pt x="1006" y="882"/>
                    <a:pt x="1006" y="882"/>
                    <a:pt x="1006" y="882"/>
                  </a:cubicBezTo>
                  <a:cubicBezTo>
                    <a:pt x="1006" y="1028"/>
                    <a:pt x="1017" y="1145"/>
                    <a:pt x="1037" y="1208"/>
                  </a:cubicBezTo>
                  <a:cubicBezTo>
                    <a:pt x="1056" y="1268"/>
                    <a:pt x="1093" y="1292"/>
                    <a:pt x="1169" y="1292"/>
                  </a:cubicBezTo>
                  <a:cubicBezTo>
                    <a:pt x="1196" y="1292"/>
                    <a:pt x="1196" y="1292"/>
                    <a:pt x="1196" y="1292"/>
                  </a:cubicBezTo>
                  <a:lnTo>
                    <a:pt x="1142" y="1404"/>
                  </a:ln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7" name="Freeform 38"/>
            <p:cNvSpPr>
              <a:spLocks noChangeArrowheads="1"/>
            </p:cNvSpPr>
            <p:nvPr/>
          </p:nvSpPr>
          <p:spPr bwMode="auto">
            <a:xfrm>
              <a:off x="4340225" y="1503362"/>
              <a:ext cx="141288" cy="663575"/>
            </a:xfrm>
            <a:custGeom>
              <a:avLst/>
              <a:gdLst>
                <a:gd name="T0" fmla="*/ 385 w 459"/>
                <a:gd name="T1" fmla="*/ 2145 h 2152"/>
                <a:gd name="T2" fmla="*/ 385 w 459"/>
                <a:gd name="T3" fmla="*/ 2145 h 2152"/>
                <a:gd name="T4" fmla="*/ 210 w 459"/>
                <a:gd name="T5" fmla="*/ 2145 h 2152"/>
                <a:gd name="T6" fmla="*/ 130 w 459"/>
                <a:gd name="T7" fmla="*/ 2151 h 2152"/>
                <a:gd name="T8" fmla="*/ 149 w 459"/>
                <a:gd name="T9" fmla="*/ 2022 h 2152"/>
                <a:gd name="T10" fmla="*/ 162 w 459"/>
                <a:gd name="T11" fmla="*/ 1815 h 2152"/>
                <a:gd name="T12" fmla="*/ 168 w 459"/>
                <a:gd name="T13" fmla="*/ 1605 h 2152"/>
                <a:gd name="T14" fmla="*/ 173 w 459"/>
                <a:gd name="T15" fmla="*/ 521 h 2152"/>
                <a:gd name="T16" fmla="*/ 149 w 459"/>
                <a:gd name="T17" fmla="*/ 221 h 2152"/>
                <a:gd name="T18" fmla="*/ 22 w 459"/>
                <a:gd name="T19" fmla="*/ 136 h 2152"/>
                <a:gd name="T20" fmla="*/ 0 w 459"/>
                <a:gd name="T21" fmla="*/ 136 h 2152"/>
                <a:gd name="T22" fmla="*/ 54 w 459"/>
                <a:gd name="T23" fmla="*/ 20 h 2152"/>
                <a:gd name="T24" fmla="*/ 127 w 459"/>
                <a:gd name="T25" fmla="*/ 20 h 2152"/>
                <a:gd name="T26" fmla="*/ 337 w 459"/>
                <a:gd name="T27" fmla="*/ 9 h 2152"/>
                <a:gd name="T28" fmla="*/ 426 w 459"/>
                <a:gd name="T29" fmla="*/ 0 h 2152"/>
                <a:gd name="T30" fmla="*/ 402 w 459"/>
                <a:gd name="T31" fmla="*/ 484 h 2152"/>
                <a:gd name="T32" fmla="*/ 400 w 459"/>
                <a:gd name="T33" fmla="*/ 1609 h 2152"/>
                <a:gd name="T34" fmla="*/ 458 w 459"/>
                <a:gd name="T35" fmla="*/ 2151 h 2152"/>
                <a:gd name="T36" fmla="*/ 385 w 459"/>
                <a:gd name="T37" fmla="*/ 2145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9" h="2152">
                  <a:moveTo>
                    <a:pt x="385" y="2145"/>
                  </a:moveTo>
                  <a:lnTo>
                    <a:pt x="385" y="2145"/>
                  </a:lnTo>
                  <a:cubicBezTo>
                    <a:pt x="210" y="2145"/>
                    <a:pt x="210" y="2145"/>
                    <a:pt x="210" y="2145"/>
                  </a:cubicBezTo>
                  <a:cubicBezTo>
                    <a:pt x="130" y="2151"/>
                    <a:pt x="130" y="2151"/>
                    <a:pt x="130" y="2151"/>
                  </a:cubicBezTo>
                  <a:cubicBezTo>
                    <a:pt x="141" y="2095"/>
                    <a:pt x="147" y="2050"/>
                    <a:pt x="149" y="2022"/>
                  </a:cubicBezTo>
                  <a:cubicBezTo>
                    <a:pt x="155" y="1979"/>
                    <a:pt x="158" y="1907"/>
                    <a:pt x="162" y="1815"/>
                  </a:cubicBezTo>
                  <a:cubicBezTo>
                    <a:pt x="168" y="1720"/>
                    <a:pt x="168" y="1652"/>
                    <a:pt x="168" y="1605"/>
                  </a:cubicBezTo>
                  <a:cubicBezTo>
                    <a:pt x="173" y="521"/>
                    <a:pt x="173" y="521"/>
                    <a:pt x="173" y="521"/>
                  </a:cubicBezTo>
                  <a:cubicBezTo>
                    <a:pt x="173" y="383"/>
                    <a:pt x="164" y="279"/>
                    <a:pt x="149" y="221"/>
                  </a:cubicBezTo>
                  <a:cubicBezTo>
                    <a:pt x="136" y="164"/>
                    <a:pt x="91" y="136"/>
                    <a:pt x="22" y="136"/>
                  </a:cubicBezTo>
                  <a:cubicBezTo>
                    <a:pt x="0" y="136"/>
                    <a:pt x="0" y="136"/>
                    <a:pt x="0" y="136"/>
                  </a:cubicBezTo>
                  <a:cubicBezTo>
                    <a:pt x="54" y="20"/>
                    <a:pt x="54" y="20"/>
                    <a:pt x="54" y="20"/>
                  </a:cubicBezTo>
                  <a:cubicBezTo>
                    <a:pt x="127" y="20"/>
                    <a:pt x="127" y="20"/>
                    <a:pt x="127" y="20"/>
                  </a:cubicBezTo>
                  <a:cubicBezTo>
                    <a:pt x="337" y="9"/>
                    <a:pt x="337" y="9"/>
                    <a:pt x="337" y="9"/>
                  </a:cubicBezTo>
                  <a:cubicBezTo>
                    <a:pt x="426" y="0"/>
                    <a:pt x="426" y="0"/>
                    <a:pt x="426" y="0"/>
                  </a:cubicBezTo>
                  <a:cubicBezTo>
                    <a:pt x="408" y="262"/>
                    <a:pt x="402" y="363"/>
                    <a:pt x="402" y="484"/>
                  </a:cubicBezTo>
                  <a:cubicBezTo>
                    <a:pt x="400" y="1609"/>
                    <a:pt x="400" y="1609"/>
                    <a:pt x="400" y="1609"/>
                  </a:cubicBezTo>
                  <a:cubicBezTo>
                    <a:pt x="400" y="1869"/>
                    <a:pt x="417" y="2028"/>
                    <a:pt x="458" y="2151"/>
                  </a:cubicBezTo>
                  <a:lnTo>
                    <a:pt x="385" y="2145"/>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8" name="Freeform 39"/>
            <p:cNvSpPr>
              <a:spLocks noChangeArrowheads="1"/>
            </p:cNvSpPr>
            <p:nvPr/>
          </p:nvSpPr>
          <p:spPr bwMode="auto">
            <a:xfrm>
              <a:off x="3775075" y="1533524"/>
              <a:ext cx="531813" cy="642938"/>
            </a:xfrm>
            <a:custGeom>
              <a:avLst/>
              <a:gdLst>
                <a:gd name="T0" fmla="*/ 1695 w 1727"/>
                <a:gd name="T1" fmla="*/ 185 h 2087"/>
                <a:gd name="T2" fmla="*/ 1695 w 1727"/>
                <a:gd name="T3" fmla="*/ 185 h 2087"/>
                <a:gd name="T4" fmla="*/ 1659 w 1727"/>
                <a:gd name="T5" fmla="*/ 298 h 2087"/>
                <a:gd name="T6" fmla="*/ 1637 w 1727"/>
                <a:gd name="T7" fmla="*/ 386 h 2087"/>
                <a:gd name="T8" fmla="*/ 1596 w 1727"/>
                <a:gd name="T9" fmla="*/ 386 h 2087"/>
                <a:gd name="T10" fmla="*/ 1076 w 1727"/>
                <a:gd name="T11" fmla="*/ 160 h 2087"/>
                <a:gd name="T12" fmla="*/ 317 w 1727"/>
                <a:gd name="T13" fmla="*/ 1004 h 2087"/>
                <a:gd name="T14" fmla="*/ 1121 w 1727"/>
                <a:gd name="T15" fmla="*/ 1901 h 2087"/>
                <a:gd name="T16" fmla="*/ 1378 w 1727"/>
                <a:gd name="T17" fmla="*/ 1866 h 2087"/>
                <a:gd name="T18" fmla="*/ 1665 w 1727"/>
                <a:gd name="T19" fmla="*/ 1732 h 2087"/>
                <a:gd name="T20" fmla="*/ 1700 w 1727"/>
                <a:gd name="T21" fmla="*/ 1756 h 2087"/>
                <a:gd name="T22" fmla="*/ 1674 w 1727"/>
                <a:gd name="T23" fmla="*/ 1827 h 2087"/>
                <a:gd name="T24" fmla="*/ 1642 w 1727"/>
                <a:gd name="T25" fmla="*/ 1922 h 2087"/>
                <a:gd name="T26" fmla="*/ 1616 w 1727"/>
                <a:gd name="T27" fmla="*/ 2009 h 2087"/>
                <a:gd name="T28" fmla="*/ 1361 w 1727"/>
                <a:gd name="T29" fmla="*/ 2065 h 2087"/>
                <a:gd name="T30" fmla="*/ 1067 w 1727"/>
                <a:gd name="T31" fmla="*/ 2086 h 2087"/>
                <a:gd name="T32" fmla="*/ 534 w 1727"/>
                <a:gd name="T33" fmla="*/ 1976 h 2087"/>
                <a:gd name="T34" fmla="*/ 0 w 1727"/>
                <a:gd name="T35" fmla="*/ 1043 h 2087"/>
                <a:gd name="T36" fmla="*/ 359 w 1727"/>
                <a:gd name="T37" fmla="*/ 255 h 2087"/>
                <a:gd name="T38" fmla="*/ 1188 w 1727"/>
                <a:gd name="T39" fmla="*/ 0 h 2087"/>
                <a:gd name="T40" fmla="*/ 1430 w 1727"/>
                <a:gd name="T41" fmla="*/ 17 h 2087"/>
                <a:gd name="T42" fmla="*/ 1726 w 1727"/>
                <a:gd name="T43" fmla="*/ 90 h 2087"/>
                <a:gd name="T44" fmla="*/ 1695 w 1727"/>
                <a:gd name="T45" fmla="*/ 185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7" h="2087">
                  <a:moveTo>
                    <a:pt x="1695" y="185"/>
                  </a:moveTo>
                  <a:lnTo>
                    <a:pt x="1695" y="185"/>
                  </a:lnTo>
                  <a:cubicBezTo>
                    <a:pt x="1659" y="298"/>
                    <a:pt x="1659" y="298"/>
                    <a:pt x="1659" y="298"/>
                  </a:cubicBezTo>
                  <a:cubicBezTo>
                    <a:pt x="1637" y="386"/>
                    <a:pt x="1637" y="386"/>
                    <a:pt x="1637" y="386"/>
                  </a:cubicBezTo>
                  <a:cubicBezTo>
                    <a:pt x="1596" y="386"/>
                    <a:pt x="1596" y="386"/>
                    <a:pt x="1596" y="386"/>
                  </a:cubicBezTo>
                  <a:cubicBezTo>
                    <a:pt x="1462" y="227"/>
                    <a:pt x="1305" y="160"/>
                    <a:pt x="1076" y="160"/>
                  </a:cubicBezTo>
                  <a:cubicBezTo>
                    <a:pt x="607" y="160"/>
                    <a:pt x="317" y="482"/>
                    <a:pt x="317" y="1004"/>
                  </a:cubicBezTo>
                  <a:cubicBezTo>
                    <a:pt x="317" y="1542"/>
                    <a:pt x="639" y="1901"/>
                    <a:pt x="1121" y="1901"/>
                  </a:cubicBezTo>
                  <a:cubicBezTo>
                    <a:pt x="1205" y="1901"/>
                    <a:pt x="1292" y="1886"/>
                    <a:pt x="1378" y="1866"/>
                  </a:cubicBezTo>
                  <a:cubicBezTo>
                    <a:pt x="1501" y="1834"/>
                    <a:pt x="1551" y="1814"/>
                    <a:pt x="1665" y="1732"/>
                  </a:cubicBezTo>
                  <a:cubicBezTo>
                    <a:pt x="1700" y="1756"/>
                    <a:pt x="1700" y="1756"/>
                    <a:pt x="1700" y="1756"/>
                  </a:cubicBezTo>
                  <a:cubicBezTo>
                    <a:pt x="1674" y="1827"/>
                    <a:pt x="1674" y="1827"/>
                    <a:pt x="1674" y="1827"/>
                  </a:cubicBezTo>
                  <a:cubicBezTo>
                    <a:pt x="1642" y="1922"/>
                    <a:pt x="1642" y="1922"/>
                    <a:pt x="1642" y="1922"/>
                  </a:cubicBezTo>
                  <a:cubicBezTo>
                    <a:pt x="1616" y="2009"/>
                    <a:pt x="1616" y="2009"/>
                    <a:pt x="1616" y="2009"/>
                  </a:cubicBezTo>
                  <a:cubicBezTo>
                    <a:pt x="1482" y="2045"/>
                    <a:pt x="1430" y="2054"/>
                    <a:pt x="1361" y="2065"/>
                  </a:cubicBezTo>
                  <a:cubicBezTo>
                    <a:pt x="1274" y="2076"/>
                    <a:pt x="1158" y="2086"/>
                    <a:pt x="1067" y="2086"/>
                  </a:cubicBezTo>
                  <a:cubicBezTo>
                    <a:pt x="862" y="2086"/>
                    <a:pt x="680" y="2047"/>
                    <a:pt x="534" y="1976"/>
                  </a:cubicBezTo>
                  <a:cubicBezTo>
                    <a:pt x="212" y="1814"/>
                    <a:pt x="0" y="1447"/>
                    <a:pt x="0" y="1043"/>
                  </a:cubicBezTo>
                  <a:cubicBezTo>
                    <a:pt x="0" y="734"/>
                    <a:pt x="132" y="449"/>
                    <a:pt x="359" y="255"/>
                  </a:cubicBezTo>
                  <a:cubicBezTo>
                    <a:pt x="570" y="80"/>
                    <a:pt x="834" y="0"/>
                    <a:pt x="1188" y="0"/>
                  </a:cubicBezTo>
                  <a:cubicBezTo>
                    <a:pt x="1268" y="0"/>
                    <a:pt x="1346" y="6"/>
                    <a:pt x="1430" y="17"/>
                  </a:cubicBezTo>
                  <a:cubicBezTo>
                    <a:pt x="1538" y="32"/>
                    <a:pt x="1594" y="47"/>
                    <a:pt x="1726" y="90"/>
                  </a:cubicBezTo>
                  <a:lnTo>
                    <a:pt x="1695" y="185"/>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19" name="Freeform 40"/>
            <p:cNvSpPr>
              <a:spLocks noChangeArrowheads="1"/>
            </p:cNvSpPr>
            <p:nvPr/>
          </p:nvSpPr>
          <p:spPr bwMode="auto">
            <a:xfrm>
              <a:off x="2740025" y="1503362"/>
              <a:ext cx="430213" cy="663575"/>
            </a:xfrm>
            <a:custGeom>
              <a:avLst/>
              <a:gdLst>
                <a:gd name="T0" fmla="*/ 1318 w 1394"/>
                <a:gd name="T1" fmla="*/ 2145 h 2153"/>
                <a:gd name="T2" fmla="*/ 1318 w 1394"/>
                <a:gd name="T3" fmla="*/ 2145 h 2153"/>
                <a:gd name="T4" fmla="*/ 1147 w 1394"/>
                <a:gd name="T5" fmla="*/ 2145 h 2153"/>
                <a:gd name="T6" fmla="*/ 1065 w 1394"/>
                <a:gd name="T7" fmla="*/ 2152 h 2153"/>
                <a:gd name="T8" fmla="*/ 1085 w 1394"/>
                <a:gd name="T9" fmla="*/ 2022 h 2153"/>
                <a:gd name="T10" fmla="*/ 1104 w 1394"/>
                <a:gd name="T11" fmla="*/ 1605 h 2153"/>
                <a:gd name="T12" fmla="*/ 1104 w 1394"/>
                <a:gd name="T13" fmla="*/ 1430 h 2153"/>
                <a:gd name="T14" fmla="*/ 1106 w 1394"/>
                <a:gd name="T15" fmla="*/ 1409 h 2153"/>
                <a:gd name="T16" fmla="*/ 1074 w 1394"/>
                <a:gd name="T17" fmla="*/ 1139 h 2153"/>
                <a:gd name="T18" fmla="*/ 804 w 1394"/>
                <a:gd name="T19" fmla="*/ 961 h 2153"/>
                <a:gd name="T20" fmla="*/ 525 w 1394"/>
                <a:gd name="T21" fmla="*/ 1072 h 2153"/>
                <a:gd name="T22" fmla="*/ 398 w 1394"/>
                <a:gd name="T23" fmla="*/ 1441 h 2153"/>
                <a:gd name="T24" fmla="*/ 398 w 1394"/>
                <a:gd name="T25" fmla="*/ 1609 h 2153"/>
                <a:gd name="T26" fmla="*/ 456 w 1394"/>
                <a:gd name="T27" fmla="*/ 2152 h 2153"/>
                <a:gd name="T28" fmla="*/ 383 w 1394"/>
                <a:gd name="T29" fmla="*/ 2145 h 2153"/>
                <a:gd name="T30" fmla="*/ 208 w 1394"/>
                <a:gd name="T31" fmla="*/ 2145 h 2153"/>
                <a:gd name="T32" fmla="*/ 128 w 1394"/>
                <a:gd name="T33" fmla="*/ 2152 h 2153"/>
                <a:gd name="T34" fmla="*/ 149 w 1394"/>
                <a:gd name="T35" fmla="*/ 2022 h 2153"/>
                <a:gd name="T36" fmla="*/ 160 w 1394"/>
                <a:gd name="T37" fmla="*/ 1815 h 2153"/>
                <a:gd name="T38" fmla="*/ 165 w 1394"/>
                <a:gd name="T39" fmla="*/ 1605 h 2153"/>
                <a:gd name="T40" fmla="*/ 171 w 1394"/>
                <a:gd name="T41" fmla="*/ 521 h 2153"/>
                <a:gd name="T42" fmla="*/ 149 w 1394"/>
                <a:gd name="T43" fmla="*/ 221 h 2153"/>
                <a:gd name="T44" fmla="*/ 22 w 1394"/>
                <a:gd name="T45" fmla="*/ 136 h 2153"/>
                <a:gd name="T46" fmla="*/ 0 w 1394"/>
                <a:gd name="T47" fmla="*/ 136 h 2153"/>
                <a:gd name="T48" fmla="*/ 54 w 1394"/>
                <a:gd name="T49" fmla="*/ 20 h 2153"/>
                <a:gd name="T50" fmla="*/ 124 w 1394"/>
                <a:gd name="T51" fmla="*/ 20 h 2153"/>
                <a:gd name="T52" fmla="*/ 335 w 1394"/>
                <a:gd name="T53" fmla="*/ 9 h 2153"/>
                <a:gd name="T54" fmla="*/ 424 w 1394"/>
                <a:gd name="T55" fmla="*/ 0 h 2153"/>
                <a:gd name="T56" fmla="*/ 402 w 1394"/>
                <a:gd name="T57" fmla="*/ 484 h 2153"/>
                <a:gd name="T58" fmla="*/ 398 w 1394"/>
                <a:gd name="T59" fmla="*/ 1022 h 2153"/>
                <a:gd name="T60" fmla="*/ 499 w 1394"/>
                <a:gd name="T61" fmla="*/ 940 h 2153"/>
                <a:gd name="T62" fmla="*/ 920 w 1394"/>
                <a:gd name="T63" fmla="*/ 758 h 2153"/>
                <a:gd name="T64" fmla="*/ 1279 w 1394"/>
                <a:gd name="T65" fmla="*/ 946 h 2153"/>
                <a:gd name="T66" fmla="*/ 1324 w 1394"/>
                <a:gd name="T67" fmla="*/ 1072 h 2153"/>
                <a:gd name="T68" fmla="*/ 1337 w 1394"/>
                <a:gd name="T69" fmla="*/ 1294 h 2153"/>
                <a:gd name="T70" fmla="*/ 1337 w 1394"/>
                <a:gd name="T71" fmla="*/ 1609 h 2153"/>
                <a:gd name="T72" fmla="*/ 1393 w 1394"/>
                <a:gd name="T73" fmla="*/ 2152 h 2153"/>
                <a:gd name="T74" fmla="*/ 1318 w 1394"/>
                <a:gd name="T75" fmla="*/ 2145 h 2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4" h="2153">
                  <a:moveTo>
                    <a:pt x="1318" y="2145"/>
                  </a:moveTo>
                  <a:lnTo>
                    <a:pt x="1318" y="2145"/>
                  </a:lnTo>
                  <a:cubicBezTo>
                    <a:pt x="1147" y="2145"/>
                    <a:pt x="1147" y="2145"/>
                    <a:pt x="1147" y="2145"/>
                  </a:cubicBezTo>
                  <a:cubicBezTo>
                    <a:pt x="1065" y="2152"/>
                    <a:pt x="1065" y="2152"/>
                    <a:pt x="1065" y="2152"/>
                  </a:cubicBezTo>
                  <a:cubicBezTo>
                    <a:pt x="1074" y="2095"/>
                    <a:pt x="1084" y="2050"/>
                    <a:pt x="1085" y="2022"/>
                  </a:cubicBezTo>
                  <a:cubicBezTo>
                    <a:pt x="1095" y="1953"/>
                    <a:pt x="1104" y="1784"/>
                    <a:pt x="1104" y="1605"/>
                  </a:cubicBezTo>
                  <a:cubicBezTo>
                    <a:pt x="1104" y="1430"/>
                    <a:pt x="1104" y="1430"/>
                    <a:pt x="1104" y="1430"/>
                  </a:cubicBezTo>
                  <a:cubicBezTo>
                    <a:pt x="1106" y="1409"/>
                    <a:pt x="1106" y="1409"/>
                    <a:pt x="1106" y="1409"/>
                  </a:cubicBezTo>
                  <a:cubicBezTo>
                    <a:pt x="1106" y="1287"/>
                    <a:pt x="1095" y="1203"/>
                    <a:pt x="1074" y="1139"/>
                  </a:cubicBezTo>
                  <a:cubicBezTo>
                    <a:pt x="1037" y="1028"/>
                    <a:pt x="938" y="961"/>
                    <a:pt x="804" y="961"/>
                  </a:cubicBezTo>
                  <a:cubicBezTo>
                    <a:pt x="704" y="961"/>
                    <a:pt x="605" y="1002"/>
                    <a:pt x="525" y="1072"/>
                  </a:cubicBezTo>
                  <a:cubicBezTo>
                    <a:pt x="428" y="1160"/>
                    <a:pt x="398" y="1240"/>
                    <a:pt x="398" y="1441"/>
                  </a:cubicBezTo>
                  <a:cubicBezTo>
                    <a:pt x="398" y="1609"/>
                    <a:pt x="398" y="1609"/>
                    <a:pt x="398" y="1609"/>
                  </a:cubicBezTo>
                  <a:cubicBezTo>
                    <a:pt x="398" y="1869"/>
                    <a:pt x="415" y="2028"/>
                    <a:pt x="456" y="2152"/>
                  </a:cubicBezTo>
                  <a:cubicBezTo>
                    <a:pt x="383" y="2145"/>
                    <a:pt x="383" y="2145"/>
                    <a:pt x="383" y="2145"/>
                  </a:cubicBezTo>
                  <a:cubicBezTo>
                    <a:pt x="208" y="2145"/>
                    <a:pt x="208" y="2145"/>
                    <a:pt x="208" y="2145"/>
                  </a:cubicBezTo>
                  <a:cubicBezTo>
                    <a:pt x="128" y="2152"/>
                    <a:pt x="128" y="2152"/>
                    <a:pt x="128" y="2152"/>
                  </a:cubicBezTo>
                  <a:cubicBezTo>
                    <a:pt x="139" y="2095"/>
                    <a:pt x="145" y="2050"/>
                    <a:pt x="149" y="2022"/>
                  </a:cubicBezTo>
                  <a:cubicBezTo>
                    <a:pt x="154" y="1979"/>
                    <a:pt x="156" y="1907"/>
                    <a:pt x="160" y="1815"/>
                  </a:cubicBezTo>
                  <a:cubicBezTo>
                    <a:pt x="165" y="1720"/>
                    <a:pt x="165" y="1652"/>
                    <a:pt x="165" y="1605"/>
                  </a:cubicBezTo>
                  <a:cubicBezTo>
                    <a:pt x="171" y="521"/>
                    <a:pt x="171" y="521"/>
                    <a:pt x="171" y="521"/>
                  </a:cubicBezTo>
                  <a:cubicBezTo>
                    <a:pt x="171" y="383"/>
                    <a:pt x="164" y="279"/>
                    <a:pt x="149" y="221"/>
                  </a:cubicBezTo>
                  <a:cubicBezTo>
                    <a:pt x="134" y="164"/>
                    <a:pt x="91" y="136"/>
                    <a:pt x="22" y="136"/>
                  </a:cubicBezTo>
                  <a:cubicBezTo>
                    <a:pt x="0" y="136"/>
                    <a:pt x="0" y="136"/>
                    <a:pt x="0" y="136"/>
                  </a:cubicBezTo>
                  <a:cubicBezTo>
                    <a:pt x="54" y="20"/>
                    <a:pt x="54" y="20"/>
                    <a:pt x="54" y="20"/>
                  </a:cubicBezTo>
                  <a:cubicBezTo>
                    <a:pt x="124" y="20"/>
                    <a:pt x="124" y="20"/>
                    <a:pt x="124" y="20"/>
                  </a:cubicBezTo>
                  <a:cubicBezTo>
                    <a:pt x="335" y="9"/>
                    <a:pt x="335" y="9"/>
                    <a:pt x="335" y="9"/>
                  </a:cubicBezTo>
                  <a:cubicBezTo>
                    <a:pt x="424" y="0"/>
                    <a:pt x="424" y="0"/>
                    <a:pt x="424" y="0"/>
                  </a:cubicBezTo>
                  <a:cubicBezTo>
                    <a:pt x="408" y="257"/>
                    <a:pt x="402" y="359"/>
                    <a:pt x="402" y="484"/>
                  </a:cubicBezTo>
                  <a:cubicBezTo>
                    <a:pt x="398" y="1022"/>
                    <a:pt x="398" y="1022"/>
                    <a:pt x="398" y="1022"/>
                  </a:cubicBezTo>
                  <a:cubicBezTo>
                    <a:pt x="499" y="940"/>
                    <a:pt x="499" y="940"/>
                    <a:pt x="499" y="940"/>
                  </a:cubicBezTo>
                  <a:cubicBezTo>
                    <a:pt x="663" y="808"/>
                    <a:pt x="778" y="758"/>
                    <a:pt x="920" y="758"/>
                  </a:cubicBezTo>
                  <a:cubicBezTo>
                    <a:pt x="1080" y="758"/>
                    <a:pt x="1210" y="827"/>
                    <a:pt x="1279" y="946"/>
                  </a:cubicBezTo>
                  <a:cubicBezTo>
                    <a:pt x="1301" y="987"/>
                    <a:pt x="1316" y="1030"/>
                    <a:pt x="1324" y="1072"/>
                  </a:cubicBezTo>
                  <a:cubicBezTo>
                    <a:pt x="1337" y="1134"/>
                    <a:pt x="1337" y="1167"/>
                    <a:pt x="1337" y="1294"/>
                  </a:cubicBezTo>
                  <a:cubicBezTo>
                    <a:pt x="1337" y="1609"/>
                    <a:pt x="1337" y="1609"/>
                    <a:pt x="1337" y="1609"/>
                  </a:cubicBezTo>
                  <a:cubicBezTo>
                    <a:pt x="1337" y="1869"/>
                    <a:pt x="1354" y="2028"/>
                    <a:pt x="1393" y="2152"/>
                  </a:cubicBezTo>
                  <a:lnTo>
                    <a:pt x="1318" y="2145"/>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0" name="Freeform 41"/>
            <p:cNvSpPr>
              <a:spLocks noChangeArrowheads="1"/>
            </p:cNvSpPr>
            <p:nvPr/>
          </p:nvSpPr>
          <p:spPr bwMode="auto">
            <a:xfrm>
              <a:off x="2208213" y="1546224"/>
              <a:ext cx="542925" cy="619125"/>
            </a:xfrm>
            <a:custGeom>
              <a:avLst/>
              <a:gdLst>
                <a:gd name="T0" fmla="*/ 1732 w 1763"/>
                <a:gd name="T1" fmla="*/ 95 h 2007"/>
                <a:gd name="T2" fmla="*/ 1732 w 1763"/>
                <a:gd name="T3" fmla="*/ 95 h 2007"/>
                <a:gd name="T4" fmla="*/ 1700 w 1763"/>
                <a:gd name="T5" fmla="*/ 218 h 2007"/>
                <a:gd name="T6" fmla="*/ 1685 w 1763"/>
                <a:gd name="T7" fmla="*/ 291 h 2007"/>
                <a:gd name="T8" fmla="*/ 1648 w 1763"/>
                <a:gd name="T9" fmla="*/ 292 h 2007"/>
                <a:gd name="T10" fmla="*/ 1510 w 1763"/>
                <a:gd name="T11" fmla="*/ 201 h 2007"/>
                <a:gd name="T12" fmla="*/ 1389 w 1763"/>
                <a:gd name="T13" fmla="*/ 171 h 2007"/>
                <a:gd name="T14" fmla="*/ 1015 w 1763"/>
                <a:gd name="T15" fmla="*/ 155 h 2007"/>
                <a:gd name="T16" fmla="*/ 1004 w 1763"/>
                <a:gd name="T17" fmla="*/ 514 h 2007"/>
                <a:gd name="T18" fmla="*/ 1000 w 1763"/>
                <a:gd name="T19" fmla="*/ 1464 h 2007"/>
                <a:gd name="T20" fmla="*/ 1056 w 1763"/>
                <a:gd name="T21" fmla="*/ 2006 h 2007"/>
                <a:gd name="T22" fmla="*/ 983 w 1763"/>
                <a:gd name="T23" fmla="*/ 2000 h 2007"/>
                <a:gd name="T24" fmla="*/ 773 w 1763"/>
                <a:gd name="T25" fmla="*/ 2000 h 2007"/>
                <a:gd name="T26" fmla="*/ 687 w 1763"/>
                <a:gd name="T27" fmla="*/ 2006 h 2007"/>
                <a:gd name="T28" fmla="*/ 708 w 1763"/>
                <a:gd name="T29" fmla="*/ 1877 h 2007"/>
                <a:gd name="T30" fmla="*/ 728 w 1763"/>
                <a:gd name="T31" fmla="*/ 1460 h 2007"/>
                <a:gd name="T32" fmla="*/ 730 w 1763"/>
                <a:gd name="T33" fmla="*/ 514 h 2007"/>
                <a:gd name="T34" fmla="*/ 728 w 1763"/>
                <a:gd name="T35" fmla="*/ 339 h 2007"/>
                <a:gd name="T36" fmla="*/ 722 w 1763"/>
                <a:gd name="T37" fmla="*/ 155 h 2007"/>
                <a:gd name="T38" fmla="*/ 533 w 1763"/>
                <a:gd name="T39" fmla="*/ 157 h 2007"/>
                <a:gd name="T40" fmla="*/ 169 w 1763"/>
                <a:gd name="T41" fmla="*/ 207 h 2007"/>
                <a:gd name="T42" fmla="*/ 37 w 1763"/>
                <a:gd name="T43" fmla="*/ 296 h 2007"/>
                <a:gd name="T44" fmla="*/ 0 w 1763"/>
                <a:gd name="T45" fmla="*/ 292 h 2007"/>
                <a:gd name="T46" fmla="*/ 6 w 1763"/>
                <a:gd name="T47" fmla="*/ 229 h 2007"/>
                <a:gd name="T48" fmla="*/ 22 w 1763"/>
                <a:gd name="T49" fmla="*/ 97 h 2007"/>
                <a:gd name="T50" fmla="*/ 32 w 1763"/>
                <a:gd name="T51" fmla="*/ 0 h 2007"/>
                <a:gd name="T52" fmla="*/ 153 w 1763"/>
                <a:gd name="T53" fmla="*/ 2 h 2007"/>
                <a:gd name="T54" fmla="*/ 866 w 1763"/>
                <a:gd name="T55" fmla="*/ 13 h 2007"/>
                <a:gd name="T56" fmla="*/ 1633 w 1763"/>
                <a:gd name="T57" fmla="*/ 2 h 2007"/>
                <a:gd name="T58" fmla="*/ 1762 w 1763"/>
                <a:gd name="T59" fmla="*/ 0 h 2007"/>
                <a:gd name="T60" fmla="*/ 1732 w 1763"/>
                <a:gd name="T61" fmla="*/ 95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3" h="2007">
                  <a:moveTo>
                    <a:pt x="1732" y="95"/>
                  </a:moveTo>
                  <a:lnTo>
                    <a:pt x="1732" y="95"/>
                  </a:lnTo>
                  <a:cubicBezTo>
                    <a:pt x="1700" y="218"/>
                    <a:pt x="1700" y="218"/>
                    <a:pt x="1700" y="218"/>
                  </a:cubicBezTo>
                  <a:cubicBezTo>
                    <a:pt x="1685" y="291"/>
                    <a:pt x="1685" y="291"/>
                    <a:pt x="1685" y="291"/>
                  </a:cubicBezTo>
                  <a:cubicBezTo>
                    <a:pt x="1648" y="292"/>
                    <a:pt x="1648" y="292"/>
                    <a:pt x="1648" y="292"/>
                  </a:cubicBezTo>
                  <a:cubicBezTo>
                    <a:pt x="1592" y="240"/>
                    <a:pt x="1568" y="222"/>
                    <a:pt x="1510" y="201"/>
                  </a:cubicBezTo>
                  <a:cubicBezTo>
                    <a:pt x="1469" y="186"/>
                    <a:pt x="1428" y="177"/>
                    <a:pt x="1389" y="171"/>
                  </a:cubicBezTo>
                  <a:cubicBezTo>
                    <a:pt x="1296" y="160"/>
                    <a:pt x="1251" y="157"/>
                    <a:pt x="1015" y="155"/>
                  </a:cubicBezTo>
                  <a:cubicBezTo>
                    <a:pt x="1004" y="514"/>
                    <a:pt x="1004" y="514"/>
                    <a:pt x="1004" y="514"/>
                  </a:cubicBezTo>
                  <a:cubicBezTo>
                    <a:pt x="1000" y="1464"/>
                    <a:pt x="1000" y="1464"/>
                    <a:pt x="1000" y="1464"/>
                  </a:cubicBezTo>
                  <a:cubicBezTo>
                    <a:pt x="1000" y="1724"/>
                    <a:pt x="1015" y="1883"/>
                    <a:pt x="1056" y="2006"/>
                  </a:cubicBezTo>
                  <a:cubicBezTo>
                    <a:pt x="983" y="2000"/>
                    <a:pt x="983" y="2000"/>
                    <a:pt x="983" y="2000"/>
                  </a:cubicBezTo>
                  <a:cubicBezTo>
                    <a:pt x="773" y="2000"/>
                    <a:pt x="773" y="2000"/>
                    <a:pt x="773" y="2000"/>
                  </a:cubicBezTo>
                  <a:cubicBezTo>
                    <a:pt x="687" y="2006"/>
                    <a:pt x="687" y="2006"/>
                    <a:pt x="687" y="2006"/>
                  </a:cubicBezTo>
                  <a:cubicBezTo>
                    <a:pt x="698" y="1950"/>
                    <a:pt x="704" y="1905"/>
                    <a:pt x="708" y="1877"/>
                  </a:cubicBezTo>
                  <a:cubicBezTo>
                    <a:pt x="724" y="1750"/>
                    <a:pt x="728" y="1724"/>
                    <a:pt x="728" y="1460"/>
                  </a:cubicBezTo>
                  <a:cubicBezTo>
                    <a:pt x="730" y="514"/>
                    <a:pt x="730" y="514"/>
                    <a:pt x="730" y="514"/>
                  </a:cubicBezTo>
                  <a:cubicBezTo>
                    <a:pt x="730" y="486"/>
                    <a:pt x="730" y="428"/>
                    <a:pt x="728" y="339"/>
                  </a:cubicBezTo>
                  <a:cubicBezTo>
                    <a:pt x="724" y="298"/>
                    <a:pt x="724" y="235"/>
                    <a:pt x="722" y="155"/>
                  </a:cubicBezTo>
                  <a:cubicBezTo>
                    <a:pt x="639" y="155"/>
                    <a:pt x="575" y="157"/>
                    <a:pt x="533" y="157"/>
                  </a:cubicBezTo>
                  <a:cubicBezTo>
                    <a:pt x="333" y="160"/>
                    <a:pt x="255" y="171"/>
                    <a:pt x="169" y="207"/>
                  </a:cubicBezTo>
                  <a:cubicBezTo>
                    <a:pt x="115" y="229"/>
                    <a:pt x="89" y="246"/>
                    <a:pt x="37" y="296"/>
                  </a:cubicBezTo>
                  <a:cubicBezTo>
                    <a:pt x="0" y="292"/>
                    <a:pt x="0" y="292"/>
                    <a:pt x="0" y="292"/>
                  </a:cubicBezTo>
                  <a:cubicBezTo>
                    <a:pt x="6" y="229"/>
                    <a:pt x="6" y="229"/>
                    <a:pt x="6" y="229"/>
                  </a:cubicBezTo>
                  <a:cubicBezTo>
                    <a:pt x="22" y="97"/>
                    <a:pt x="22" y="97"/>
                    <a:pt x="22" y="97"/>
                  </a:cubicBezTo>
                  <a:cubicBezTo>
                    <a:pt x="32" y="0"/>
                    <a:pt x="32" y="0"/>
                    <a:pt x="32" y="0"/>
                  </a:cubicBezTo>
                  <a:cubicBezTo>
                    <a:pt x="153" y="2"/>
                    <a:pt x="153" y="2"/>
                    <a:pt x="153" y="2"/>
                  </a:cubicBezTo>
                  <a:cubicBezTo>
                    <a:pt x="419" y="8"/>
                    <a:pt x="657" y="13"/>
                    <a:pt x="866" y="13"/>
                  </a:cubicBezTo>
                  <a:cubicBezTo>
                    <a:pt x="1082" y="13"/>
                    <a:pt x="1337" y="8"/>
                    <a:pt x="1633" y="2"/>
                  </a:cubicBezTo>
                  <a:cubicBezTo>
                    <a:pt x="1762" y="0"/>
                    <a:pt x="1762" y="0"/>
                    <a:pt x="1762" y="0"/>
                  </a:cubicBezTo>
                  <a:lnTo>
                    <a:pt x="1732" y="95"/>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1" name="Freeform 42"/>
            <p:cNvSpPr>
              <a:spLocks noChangeArrowheads="1"/>
            </p:cNvSpPr>
            <p:nvPr/>
          </p:nvSpPr>
          <p:spPr bwMode="auto">
            <a:xfrm>
              <a:off x="9228138" y="1724024"/>
              <a:ext cx="115887" cy="115888"/>
            </a:xfrm>
            <a:custGeom>
              <a:avLst/>
              <a:gdLst>
                <a:gd name="T0" fmla="*/ 188 w 376"/>
                <a:gd name="T1" fmla="*/ 0 h 373"/>
                <a:gd name="T2" fmla="*/ 188 w 376"/>
                <a:gd name="T3" fmla="*/ 0 h 373"/>
                <a:gd name="T4" fmla="*/ 375 w 376"/>
                <a:gd name="T5" fmla="*/ 186 h 373"/>
                <a:gd name="T6" fmla="*/ 188 w 376"/>
                <a:gd name="T7" fmla="*/ 372 h 373"/>
                <a:gd name="T8" fmla="*/ 0 w 376"/>
                <a:gd name="T9" fmla="*/ 186 h 373"/>
                <a:gd name="T10" fmla="*/ 188 w 376"/>
                <a:gd name="T11" fmla="*/ 0 h 373"/>
                <a:gd name="T12" fmla="*/ 188 w 376"/>
                <a:gd name="T13" fmla="*/ 344 h 373"/>
                <a:gd name="T14" fmla="*/ 188 w 376"/>
                <a:gd name="T15" fmla="*/ 344 h 373"/>
                <a:gd name="T16" fmla="*/ 341 w 376"/>
                <a:gd name="T17" fmla="*/ 186 h 373"/>
                <a:gd name="T18" fmla="*/ 188 w 376"/>
                <a:gd name="T19" fmla="*/ 28 h 373"/>
                <a:gd name="T20" fmla="*/ 34 w 376"/>
                <a:gd name="T21" fmla="*/ 186 h 373"/>
                <a:gd name="T22" fmla="*/ 188 w 376"/>
                <a:gd name="T23" fmla="*/ 344 h 373"/>
                <a:gd name="T24" fmla="*/ 116 w 376"/>
                <a:gd name="T25" fmla="*/ 78 h 373"/>
                <a:gd name="T26" fmla="*/ 116 w 376"/>
                <a:gd name="T27" fmla="*/ 78 h 373"/>
                <a:gd name="T28" fmla="*/ 199 w 376"/>
                <a:gd name="T29" fmla="*/ 78 h 373"/>
                <a:gd name="T30" fmla="*/ 276 w 376"/>
                <a:gd name="T31" fmla="*/ 139 h 373"/>
                <a:gd name="T32" fmla="*/ 218 w 376"/>
                <a:gd name="T33" fmla="*/ 199 h 373"/>
                <a:gd name="T34" fmla="*/ 280 w 376"/>
                <a:gd name="T35" fmla="*/ 294 h 373"/>
                <a:gd name="T36" fmla="*/ 244 w 376"/>
                <a:gd name="T37" fmla="*/ 294 h 373"/>
                <a:gd name="T38" fmla="*/ 185 w 376"/>
                <a:gd name="T39" fmla="*/ 201 h 373"/>
                <a:gd name="T40" fmla="*/ 149 w 376"/>
                <a:gd name="T41" fmla="*/ 201 h 373"/>
                <a:gd name="T42" fmla="*/ 149 w 376"/>
                <a:gd name="T43" fmla="*/ 294 h 373"/>
                <a:gd name="T44" fmla="*/ 116 w 376"/>
                <a:gd name="T45" fmla="*/ 294 h 373"/>
                <a:gd name="T46" fmla="*/ 116 w 376"/>
                <a:gd name="T47" fmla="*/ 78 h 373"/>
                <a:gd name="T48" fmla="*/ 149 w 376"/>
                <a:gd name="T49" fmla="*/ 173 h 373"/>
                <a:gd name="T50" fmla="*/ 149 w 376"/>
                <a:gd name="T51" fmla="*/ 173 h 373"/>
                <a:gd name="T52" fmla="*/ 185 w 376"/>
                <a:gd name="T53" fmla="*/ 173 h 373"/>
                <a:gd name="T54" fmla="*/ 242 w 376"/>
                <a:gd name="T55" fmla="*/ 137 h 373"/>
                <a:gd name="T56" fmla="*/ 194 w 376"/>
                <a:gd name="T57" fmla="*/ 104 h 373"/>
                <a:gd name="T58" fmla="*/ 149 w 376"/>
                <a:gd name="T59" fmla="*/ 104 h 373"/>
                <a:gd name="T60" fmla="*/ 149 w 376"/>
                <a:gd name="T61" fmla="*/ 1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373">
                  <a:moveTo>
                    <a:pt x="188" y="0"/>
                  </a:moveTo>
                  <a:lnTo>
                    <a:pt x="188" y="0"/>
                  </a:lnTo>
                  <a:cubicBezTo>
                    <a:pt x="289" y="0"/>
                    <a:pt x="375" y="80"/>
                    <a:pt x="375" y="186"/>
                  </a:cubicBezTo>
                  <a:cubicBezTo>
                    <a:pt x="375" y="292"/>
                    <a:pt x="289" y="372"/>
                    <a:pt x="188" y="372"/>
                  </a:cubicBezTo>
                  <a:cubicBezTo>
                    <a:pt x="86" y="372"/>
                    <a:pt x="0" y="292"/>
                    <a:pt x="0" y="186"/>
                  </a:cubicBezTo>
                  <a:cubicBezTo>
                    <a:pt x="0" y="80"/>
                    <a:pt x="86" y="0"/>
                    <a:pt x="188" y="0"/>
                  </a:cubicBezTo>
                  <a:close/>
                  <a:moveTo>
                    <a:pt x="188" y="344"/>
                  </a:moveTo>
                  <a:lnTo>
                    <a:pt x="188" y="344"/>
                  </a:lnTo>
                  <a:cubicBezTo>
                    <a:pt x="274" y="344"/>
                    <a:pt x="341" y="275"/>
                    <a:pt x="341" y="186"/>
                  </a:cubicBezTo>
                  <a:cubicBezTo>
                    <a:pt x="341" y="96"/>
                    <a:pt x="274" y="28"/>
                    <a:pt x="188" y="28"/>
                  </a:cubicBezTo>
                  <a:cubicBezTo>
                    <a:pt x="101" y="28"/>
                    <a:pt x="34" y="96"/>
                    <a:pt x="34" y="186"/>
                  </a:cubicBezTo>
                  <a:cubicBezTo>
                    <a:pt x="34" y="275"/>
                    <a:pt x="101" y="344"/>
                    <a:pt x="188" y="344"/>
                  </a:cubicBezTo>
                  <a:close/>
                  <a:moveTo>
                    <a:pt x="116" y="78"/>
                  </a:moveTo>
                  <a:lnTo>
                    <a:pt x="116" y="78"/>
                  </a:lnTo>
                  <a:cubicBezTo>
                    <a:pt x="199" y="78"/>
                    <a:pt x="199" y="78"/>
                    <a:pt x="199" y="78"/>
                  </a:cubicBezTo>
                  <a:cubicBezTo>
                    <a:pt x="252" y="78"/>
                    <a:pt x="276" y="98"/>
                    <a:pt x="276" y="139"/>
                  </a:cubicBezTo>
                  <a:cubicBezTo>
                    <a:pt x="276" y="178"/>
                    <a:pt x="250" y="195"/>
                    <a:pt x="218" y="199"/>
                  </a:cubicBezTo>
                  <a:cubicBezTo>
                    <a:pt x="280" y="294"/>
                    <a:pt x="280" y="294"/>
                    <a:pt x="280" y="294"/>
                  </a:cubicBezTo>
                  <a:cubicBezTo>
                    <a:pt x="244" y="294"/>
                    <a:pt x="244" y="294"/>
                    <a:pt x="244" y="294"/>
                  </a:cubicBezTo>
                  <a:cubicBezTo>
                    <a:pt x="185" y="201"/>
                    <a:pt x="185" y="201"/>
                    <a:pt x="185" y="201"/>
                  </a:cubicBezTo>
                  <a:cubicBezTo>
                    <a:pt x="149" y="201"/>
                    <a:pt x="149" y="201"/>
                    <a:pt x="149" y="201"/>
                  </a:cubicBezTo>
                  <a:cubicBezTo>
                    <a:pt x="149" y="294"/>
                    <a:pt x="149" y="294"/>
                    <a:pt x="149" y="294"/>
                  </a:cubicBezTo>
                  <a:cubicBezTo>
                    <a:pt x="116" y="294"/>
                    <a:pt x="116" y="294"/>
                    <a:pt x="116" y="294"/>
                  </a:cubicBezTo>
                  <a:lnTo>
                    <a:pt x="116" y="78"/>
                  </a:lnTo>
                  <a:close/>
                  <a:moveTo>
                    <a:pt x="149" y="173"/>
                  </a:moveTo>
                  <a:lnTo>
                    <a:pt x="149" y="173"/>
                  </a:lnTo>
                  <a:cubicBezTo>
                    <a:pt x="185" y="173"/>
                    <a:pt x="185" y="173"/>
                    <a:pt x="185" y="173"/>
                  </a:cubicBezTo>
                  <a:cubicBezTo>
                    <a:pt x="214" y="173"/>
                    <a:pt x="242" y="173"/>
                    <a:pt x="242" y="137"/>
                  </a:cubicBezTo>
                  <a:cubicBezTo>
                    <a:pt x="242" y="110"/>
                    <a:pt x="216" y="104"/>
                    <a:pt x="194" y="104"/>
                  </a:cubicBezTo>
                  <a:cubicBezTo>
                    <a:pt x="149" y="104"/>
                    <a:pt x="149" y="104"/>
                    <a:pt x="149" y="104"/>
                  </a:cubicBezTo>
                  <a:lnTo>
                    <a:pt x="149" y="173"/>
                  </a:ln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2" name="Freeform 43"/>
            <p:cNvSpPr>
              <a:spLocks noChangeArrowheads="1"/>
            </p:cNvSpPr>
            <p:nvPr/>
          </p:nvSpPr>
          <p:spPr bwMode="auto">
            <a:xfrm>
              <a:off x="5699125" y="1541462"/>
              <a:ext cx="88900" cy="95250"/>
            </a:xfrm>
            <a:custGeom>
              <a:avLst/>
              <a:gdLst>
                <a:gd name="T0" fmla="*/ 115 w 290"/>
                <a:gd name="T1" fmla="*/ 314 h 315"/>
                <a:gd name="T2" fmla="*/ 115 w 290"/>
                <a:gd name="T3" fmla="*/ 314 h 315"/>
                <a:gd name="T4" fmla="*/ 0 w 290"/>
                <a:gd name="T5" fmla="*/ 184 h 315"/>
                <a:gd name="T6" fmla="*/ 173 w 290"/>
                <a:gd name="T7" fmla="*/ 0 h 315"/>
                <a:gd name="T8" fmla="*/ 289 w 290"/>
                <a:gd name="T9" fmla="*/ 132 h 315"/>
                <a:gd name="T10" fmla="*/ 289 w 290"/>
                <a:gd name="T11" fmla="*/ 147 h 315"/>
                <a:gd name="T12" fmla="*/ 115 w 290"/>
                <a:gd name="T13" fmla="*/ 314 h 315"/>
              </a:gdLst>
              <a:ahLst/>
              <a:cxnLst>
                <a:cxn ang="0">
                  <a:pos x="T0" y="T1"/>
                </a:cxn>
                <a:cxn ang="0">
                  <a:pos x="T2" y="T3"/>
                </a:cxn>
                <a:cxn ang="0">
                  <a:pos x="T4" y="T5"/>
                </a:cxn>
                <a:cxn ang="0">
                  <a:pos x="T6" y="T7"/>
                </a:cxn>
                <a:cxn ang="0">
                  <a:pos x="T8" y="T9"/>
                </a:cxn>
                <a:cxn ang="0">
                  <a:pos x="T10" y="T11"/>
                </a:cxn>
                <a:cxn ang="0">
                  <a:pos x="T12" y="T13"/>
                </a:cxn>
              </a:cxnLst>
              <a:rect l="0" t="0" r="r" b="b"/>
              <a:pathLst>
                <a:path w="290" h="315">
                  <a:moveTo>
                    <a:pt x="115" y="314"/>
                  </a:moveTo>
                  <a:lnTo>
                    <a:pt x="115" y="314"/>
                  </a:lnTo>
                  <a:cubicBezTo>
                    <a:pt x="22" y="314"/>
                    <a:pt x="0" y="292"/>
                    <a:pt x="0" y="184"/>
                  </a:cubicBezTo>
                  <a:cubicBezTo>
                    <a:pt x="0" y="29"/>
                    <a:pt x="26" y="0"/>
                    <a:pt x="173" y="0"/>
                  </a:cubicBezTo>
                  <a:cubicBezTo>
                    <a:pt x="268" y="0"/>
                    <a:pt x="289" y="26"/>
                    <a:pt x="289" y="132"/>
                  </a:cubicBezTo>
                  <a:cubicBezTo>
                    <a:pt x="289" y="147"/>
                    <a:pt x="289" y="147"/>
                    <a:pt x="289" y="147"/>
                  </a:cubicBezTo>
                  <a:cubicBezTo>
                    <a:pt x="289" y="298"/>
                    <a:pt x="263" y="314"/>
                    <a:pt x="115" y="314"/>
                  </a:cubicBez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3" name="Freeform 44"/>
            <p:cNvSpPr>
              <a:spLocks noChangeArrowheads="1"/>
            </p:cNvSpPr>
            <p:nvPr/>
          </p:nvSpPr>
          <p:spPr bwMode="auto">
            <a:xfrm>
              <a:off x="6343650" y="1731962"/>
              <a:ext cx="431800" cy="649287"/>
            </a:xfrm>
            <a:custGeom>
              <a:avLst/>
              <a:gdLst>
                <a:gd name="T0" fmla="*/ 1352 w 1398"/>
                <a:gd name="T1" fmla="*/ 121 h 2109"/>
                <a:gd name="T2" fmla="*/ 1352 w 1398"/>
                <a:gd name="T3" fmla="*/ 121 h 2109"/>
                <a:gd name="T4" fmla="*/ 1313 w 1398"/>
                <a:gd name="T5" fmla="*/ 195 h 2109"/>
                <a:gd name="T6" fmla="*/ 1216 w 1398"/>
                <a:gd name="T7" fmla="*/ 190 h 2109"/>
                <a:gd name="T8" fmla="*/ 1101 w 1398"/>
                <a:gd name="T9" fmla="*/ 184 h 2109"/>
                <a:gd name="T10" fmla="*/ 1069 w 1398"/>
                <a:gd name="T11" fmla="*/ 184 h 2109"/>
                <a:gd name="T12" fmla="*/ 1157 w 1398"/>
                <a:gd name="T13" fmla="*/ 434 h 2109"/>
                <a:gd name="T14" fmla="*/ 626 w 1398"/>
                <a:gd name="T15" fmla="*/ 895 h 2109"/>
                <a:gd name="T16" fmla="*/ 492 w 1398"/>
                <a:gd name="T17" fmla="*/ 880 h 2109"/>
                <a:gd name="T18" fmla="*/ 388 w 1398"/>
                <a:gd name="T19" fmla="*/ 1033 h 2109"/>
                <a:gd name="T20" fmla="*/ 492 w 1398"/>
                <a:gd name="T21" fmla="*/ 1160 h 2109"/>
                <a:gd name="T22" fmla="*/ 741 w 1398"/>
                <a:gd name="T23" fmla="*/ 1199 h 2109"/>
                <a:gd name="T24" fmla="*/ 885 w 1398"/>
                <a:gd name="T25" fmla="*/ 1199 h 2109"/>
                <a:gd name="T26" fmla="*/ 1162 w 1398"/>
                <a:gd name="T27" fmla="*/ 1262 h 2109"/>
                <a:gd name="T28" fmla="*/ 1321 w 1398"/>
                <a:gd name="T29" fmla="*/ 1568 h 2109"/>
                <a:gd name="T30" fmla="*/ 598 w 1398"/>
                <a:gd name="T31" fmla="*/ 2108 h 2109"/>
                <a:gd name="T32" fmla="*/ 0 w 1398"/>
                <a:gd name="T33" fmla="*/ 1711 h 2109"/>
                <a:gd name="T34" fmla="*/ 23 w 1398"/>
                <a:gd name="T35" fmla="*/ 1594 h 2109"/>
                <a:gd name="T36" fmla="*/ 77 w 1398"/>
                <a:gd name="T37" fmla="*/ 1501 h 2109"/>
                <a:gd name="T38" fmla="*/ 160 w 1398"/>
                <a:gd name="T39" fmla="*/ 1430 h 2109"/>
                <a:gd name="T40" fmla="*/ 241 w 1398"/>
                <a:gd name="T41" fmla="*/ 1381 h 2109"/>
                <a:gd name="T42" fmla="*/ 334 w 1398"/>
                <a:gd name="T43" fmla="*/ 1324 h 2109"/>
                <a:gd name="T44" fmla="*/ 285 w 1398"/>
                <a:gd name="T45" fmla="*/ 1298 h 2109"/>
                <a:gd name="T46" fmla="*/ 140 w 1398"/>
                <a:gd name="T47" fmla="*/ 1113 h 2109"/>
                <a:gd name="T48" fmla="*/ 259 w 1398"/>
                <a:gd name="T49" fmla="*/ 934 h 2109"/>
                <a:gd name="T50" fmla="*/ 376 w 1398"/>
                <a:gd name="T51" fmla="*/ 843 h 2109"/>
                <a:gd name="T52" fmla="*/ 255 w 1398"/>
                <a:gd name="T53" fmla="*/ 765 h 2109"/>
                <a:gd name="T54" fmla="*/ 129 w 1398"/>
                <a:gd name="T55" fmla="*/ 452 h 2109"/>
                <a:gd name="T56" fmla="*/ 663 w 1398"/>
                <a:gd name="T57" fmla="*/ 0 h 2109"/>
                <a:gd name="T58" fmla="*/ 896 w 1398"/>
                <a:gd name="T59" fmla="*/ 41 h 2109"/>
                <a:gd name="T60" fmla="*/ 1147 w 1398"/>
                <a:gd name="T61" fmla="*/ 41 h 2109"/>
                <a:gd name="T62" fmla="*/ 1380 w 1398"/>
                <a:gd name="T63" fmla="*/ 29 h 2109"/>
                <a:gd name="T64" fmla="*/ 1397 w 1398"/>
                <a:gd name="T65" fmla="*/ 46 h 2109"/>
                <a:gd name="T66" fmla="*/ 1352 w 1398"/>
                <a:gd name="T67" fmla="*/ 121 h 2109"/>
                <a:gd name="T68" fmla="*/ 1010 w 1398"/>
                <a:gd name="T69" fmla="*/ 1458 h 2109"/>
                <a:gd name="T70" fmla="*/ 1010 w 1398"/>
                <a:gd name="T71" fmla="*/ 1458 h 2109"/>
                <a:gd name="T72" fmla="*/ 609 w 1398"/>
                <a:gd name="T73" fmla="*/ 1392 h 2109"/>
                <a:gd name="T74" fmla="*/ 583 w 1398"/>
                <a:gd name="T75" fmla="*/ 1392 h 2109"/>
                <a:gd name="T76" fmla="*/ 388 w 1398"/>
                <a:gd name="T77" fmla="*/ 1426 h 2109"/>
                <a:gd name="T78" fmla="*/ 222 w 1398"/>
                <a:gd name="T79" fmla="*/ 1679 h 2109"/>
                <a:gd name="T80" fmla="*/ 641 w 1398"/>
                <a:gd name="T81" fmla="*/ 1979 h 2109"/>
                <a:gd name="T82" fmla="*/ 1095 w 1398"/>
                <a:gd name="T83" fmla="*/ 1651 h 2109"/>
                <a:gd name="T84" fmla="*/ 1010 w 1398"/>
                <a:gd name="T85" fmla="*/ 1458 h 2109"/>
                <a:gd name="T86" fmla="*/ 632 w 1398"/>
                <a:gd name="T87" fmla="*/ 124 h 2109"/>
                <a:gd name="T88" fmla="*/ 632 w 1398"/>
                <a:gd name="T89" fmla="*/ 124 h 2109"/>
                <a:gd name="T90" fmla="*/ 598 w 1398"/>
                <a:gd name="T91" fmla="*/ 126 h 2109"/>
                <a:gd name="T92" fmla="*/ 371 w 1398"/>
                <a:gd name="T93" fmla="*/ 421 h 2109"/>
                <a:gd name="T94" fmla="*/ 652 w 1398"/>
                <a:gd name="T95" fmla="*/ 771 h 2109"/>
                <a:gd name="T96" fmla="*/ 917 w 1398"/>
                <a:gd name="T97" fmla="*/ 475 h 2109"/>
                <a:gd name="T98" fmla="*/ 632 w 1398"/>
                <a:gd name="T99" fmla="*/ 12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98" h="2109">
                  <a:moveTo>
                    <a:pt x="1352" y="121"/>
                  </a:moveTo>
                  <a:lnTo>
                    <a:pt x="1352" y="121"/>
                  </a:lnTo>
                  <a:cubicBezTo>
                    <a:pt x="1313" y="195"/>
                    <a:pt x="1313" y="195"/>
                    <a:pt x="1313" y="195"/>
                  </a:cubicBezTo>
                  <a:cubicBezTo>
                    <a:pt x="1216" y="190"/>
                    <a:pt x="1216" y="190"/>
                    <a:pt x="1216" y="190"/>
                  </a:cubicBezTo>
                  <a:cubicBezTo>
                    <a:pt x="1101" y="184"/>
                    <a:pt x="1101" y="184"/>
                    <a:pt x="1101" y="184"/>
                  </a:cubicBezTo>
                  <a:cubicBezTo>
                    <a:pt x="1069" y="184"/>
                    <a:pt x="1069" y="184"/>
                    <a:pt x="1069" y="184"/>
                  </a:cubicBezTo>
                  <a:cubicBezTo>
                    <a:pt x="1136" y="273"/>
                    <a:pt x="1157" y="327"/>
                    <a:pt x="1157" y="434"/>
                  </a:cubicBezTo>
                  <a:cubicBezTo>
                    <a:pt x="1157" y="707"/>
                    <a:pt x="943" y="895"/>
                    <a:pt x="626" y="895"/>
                  </a:cubicBezTo>
                  <a:cubicBezTo>
                    <a:pt x="576" y="895"/>
                    <a:pt x="552" y="892"/>
                    <a:pt x="492" y="880"/>
                  </a:cubicBezTo>
                  <a:cubicBezTo>
                    <a:pt x="414" y="944"/>
                    <a:pt x="388" y="981"/>
                    <a:pt x="388" y="1033"/>
                  </a:cubicBezTo>
                  <a:cubicBezTo>
                    <a:pt x="388" y="1091"/>
                    <a:pt x="429" y="1136"/>
                    <a:pt x="492" y="1160"/>
                  </a:cubicBezTo>
                  <a:cubicBezTo>
                    <a:pt x="550" y="1178"/>
                    <a:pt x="609" y="1197"/>
                    <a:pt x="741" y="1199"/>
                  </a:cubicBezTo>
                  <a:cubicBezTo>
                    <a:pt x="820" y="1203"/>
                    <a:pt x="866" y="1199"/>
                    <a:pt x="885" y="1199"/>
                  </a:cubicBezTo>
                  <a:cubicBezTo>
                    <a:pt x="1015" y="1203"/>
                    <a:pt x="1095" y="1223"/>
                    <a:pt x="1162" y="1262"/>
                  </a:cubicBezTo>
                  <a:cubicBezTo>
                    <a:pt x="1263" y="1325"/>
                    <a:pt x="1321" y="1437"/>
                    <a:pt x="1321" y="1568"/>
                  </a:cubicBezTo>
                  <a:cubicBezTo>
                    <a:pt x="1321" y="1890"/>
                    <a:pt x="1026" y="2108"/>
                    <a:pt x="598" y="2108"/>
                  </a:cubicBezTo>
                  <a:cubicBezTo>
                    <a:pt x="241" y="2108"/>
                    <a:pt x="0" y="1949"/>
                    <a:pt x="0" y="1711"/>
                  </a:cubicBezTo>
                  <a:cubicBezTo>
                    <a:pt x="0" y="1668"/>
                    <a:pt x="8" y="1627"/>
                    <a:pt x="23" y="1594"/>
                  </a:cubicBezTo>
                  <a:cubicBezTo>
                    <a:pt x="34" y="1558"/>
                    <a:pt x="54" y="1530"/>
                    <a:pt x="77" y="1501"/>
                  </a:cubicBezTo>
                  <a:cubicBezTo>
                    <a:pt x="103" y="1476"/>
                    <a:pt x="133" y="1450"/>
                    <a:pt x="160" y="1430"/>
                  </a:cubicBezTo>
                  <a:cubicBezTo>
                    <a:pt x="172" y="1424"/>
                    <a:pt x="198" y="1406"/>
                    <a:pt x="241" y="1381"/>
                  </a:cubicBezTo>
                  <a:cubicBezTo>
                    <a:pt x="334" y="1324"/>
                    <a:pt x="334" y="1324"/>
                    <a:pt x="334" y="1324"/>
                  </a:cubicBezTo>
                  <a:cubicBezTo>
                    <a:pt x="285" y="1298"/>
                    <a:pt x="285" y="1298"/>
                    <a:pt x="285" y="1298"/>
                  </a:cubicBezTo>
                  <a:cubicBezTo>
                    <a:pt x="192" y="1249"/>
                    <a:pt x="144" y="1182"/>
                    <a:pt x="140" y="1113"/>
                  </a:cubicBezTo>
                  <a:cubicBezTo>
                    <a:pt x="140" y="1046"/>
                    <a:pt x="181" y="996"/>
                    <a:pt x="259" y="934"/>
                  </a:cubicBezTo>
                  <a:cubicBezTo>
                    <a:pt x="376" y="843"/>
                    <a:pt x="376" y="843"/>
                    <a:pt x="376" y="843"/>
                  </a:cubicBezTo>
                  <a:cubicBezTo>
                    <a:pt x="313" y="808"/>
                    <a:pt x="287" y="797"/>
                    <a:pt x="255" y="765"/>
                  </a:cubicBezTo>
                  <a:cubicBezTo>
                    <a:pt x="175" y="692"/>
                    <a:pt x="129" y="573"/>
                    <a:pt x="129" y="452"/>
                  </a:cubicBezTo>
                  <a:cubicBezTo>
                    <a:pt x="129" y="180"/>
                    <a:pt x="345" y="0"/>
                    <a:pt x="663" y="0"/>
                  </a:cubicBezTo>
                  <a:cubicBezTo>
                    <a:pt x="753" y="0"/>
                    <a:pt x="810" y="11"/>
                    <a:pt x="896" y="41"/>
                  </a:cubicBezTo>
                  <a:cubicBezTo>
                    <a:pt x="1147" y="41"/>
                    <a:pt x="1147" y="41"/>
                    <a:pt x="1147" y="41"/>
                  </a:cubicBezTo>
                  <a:cubicBezTo>
                    <a:pt x="1268" y="41"/>
                    <a:pt x="1289" y="41"/>
                    <a:pt x="1380" y="29"/>
                  </a:cubicBezTo>
                  <a:cubicBezTo>
                    <a:pt x="1397" y="46"/>
                    <a:pt x="1397" y="46"/>
                    <a:pt x="1397" y="46"/>
                  </a:cubicBezTo>
                  <a:lnTo>
                    <a:pt x="1352" y="121"/>
                  </a:lnTo>
                  <a:close/>
                  <a:moveTo>
                    <a:pt x="1010" y="1458"/>
                  </a:moveTo>
                  <a:lnTo>
                    <a:pt x="1010" y="1458"/>
                  </a:lnTo>
                  <a:cubicBezTo>
                    <a:pt x="943" y="1409"/>
                    <a:pt x="866" y="1392"/>
                    <a:pt x="609" y="1392"/>
                  </a:cubicBezTo>
                  <a:cubicBezTo>
                    <a:pt x="583" y="1392"/>
                    <a:pt x="583" y="1392"/>
                    <a:pt x="583" y="1392"/>
                  </a:cubicBezTo>
                  <a:cubicBezTo>
                    <a:pt x="473" y="1392"/>
                    <a:pt x="440" y="1398"/>
                    <a:pt x="388" y="1426"/>
                  </a:cubicBezTo>
                  <a:cubicBezTo>
                    <a:pt x="282" y="1487"/>
                    <a:pt x="222" y="1579"/>
                    <a:pt x="222" y="1679"/>
                  </a:cubicBezTo>
                  <a:cubicBezTo>
                    <a:pt x="222" y="1867"/>
                    <a:pt x="382" y="1979"/>
                    <a:pt x="641" y="1979"/>
                  </a:cubicBezTo>
                  <a:cubicBezTo>
                    <a:pt x="911" y="1979"/>
                    <a:pt x="1095" y="1847"/>
                    <a:pt x="1095" y="1651"/>
                  </a:cubicBezTo>
                  <a:cubicBezTo>
                    <a:pt x="1095" y="1571"/>
                    <a:pt x="1064" y="1501"/>
                    <a:pt x="1010" y="1458"/>
                  </a:cubicBezTo>
                  <a:close/>
                  <a:moveTo>
                    <a:pt x="632" y="124"/>
                  </a:moveTo>
                  <a:lnTo>
                    <a:pt x="632" y="124"/>
                  </a:lnTo>
                  <a:cubicBezTo>
                    <a:pt x="620" y="124"/>
                    <a:pt x="609" y="126"/>
                    <a:pt x="598" y="126"/>
                  </a:cubicBezTo>
                  <a:cubicBezTo>
                    <a:pt x="455" y="147"/>
                    <a:pt x="371" y="253"/>
                    <a:pt x="371" y="421"/>
                  </a:cubicBezTo>
                  <a:cubicBezTo>
                    <a:pt x="371" y="627"/>
                    <a:pt x="486" y="771"/>
                    <a:pt x="652" y="771"/>
                  </a:cubicBezTo>
                  <a:cubicBezTo>
                    <a:pt x="814" y="771"/>
                    <a:pt x="917" y="653"/>
                    <a:pt x="917" y="475"/>
                  </a:cubicBezTo>
                  <a:cubicBezTo>
                    <a:pt x="917" y="268"/>
                    <a:pt x="799" y="124"/>
                    <a:pt x="632" y="124"/>
                  </a:cubicBez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4" name="Freeform 45"/>
            <p:cNvSpPr>
              <a:spLocks noChangeArrowheads="1"/>
            </p:cNvSpPr>
            <p:nvPr/>
          </p:nvSpPr>
          <p:spPr bwMode="auto">
            <a:xfrm>
              <a:off x="3233738" y="1728787"/>
              <a:ext cx="361950" cy="450850"/>
            </a:xfrm>
            <a:custGeom>
              <a:avLst/>
              <a:gdLst>
                <a:gd name="T0" fmla="*/ 1168 w 1171"/>
                <a:gd name="T1" fmla="*/ 599 h 1466"/>
                <a:gd name="T2" fmla="*/ 1168 w 1171"/>
                <a:gd name="T3" fmla="*/ 599 h 1466"/>
                <a:gd name="T4" fmla="*/ 1142 w 1171"/>
                <a:gd name="T5" fmla="*/ 629 h 1466"/>
                <a:gd name="T6" fmla="*/ 991 w 1171"/>
                <a:gd name="T7" fmla="*/ 629 h 1466"/>
                <a:gd name="T8" fmla="*/ 682 w 1171"/>
                <a:gd name="T9" fmla="*/ 631 h 1466"/>
                <a:gd name="T10" fmla="*/ 386 w 1171"/>
                <a:gd name="T11" fmla="*/ 636 h 1466"/>
                <a:gd name="T12" fmla="*/ 240 w 1171"/>
                <a:gd name="T13" fmla="*/ 646 h 1466"/>
                <a:gd name="T14" fmla="*/ 240 w 1171"/>
                <a:gd name="T15" fmla="*/ 661 h 1466"/>
                <a:gd name="T16" fmla="*/ 782 w 1171"/>
                <a:gd name="T17" fmla="*/ 1279 h 1466"/>
                <a:gd name="T18" fmla="*/ 903 w 1171"/>
                <a:gd name="T19" fmla="*/ 1270 h 1466"/>
                <a:gd name="T20" fmla="*/ 1110 w 1171"/>
                <a:gd name="T21" fmla="*/ 1180 h 1466"/>
                <a:gd name="T22" fmla="*/ 1136 w 1171"/>
                <a:gd name="T23" fmla="*/ 1195 h 1466"/>
                <a:gd name="T24" fmla="*/ 1101 w 1171"/>
                <a:gd name="T25" fmla="*/ 1290 h 1466"/>
                <a:gd name="T26" fmla="*/ 1073 w 1171"/>
                <a:gd name="T27" fmla="*/ 1391 h 1466"/>
                <a:gd name="T28" fmla="*/ 989 w 1171"/>
                <a:gd name="T29" fmla="*/ 1420 h 1466"/>
                <a:gd name="T30" fmla="*/ 676 w 1171"/>
                <a:gd name="T31" fmla="*/ 1465 h 1466"/>
                <a:gd name="T32" fmla="*/ 177 w 1171"/>
                <a:gd name="T33" fmla="*/ 1262 h 1466"/>
                <a:gd name="T34" fmla="*/ 0 w 1171"/>
                <a:gd name="T35" fmla="*/ 750 h 1466"/>
                <a:gd name="T36" fmla="*/ 661 w 1171"/>
                <a:gd name="T37" fmla="*/ 0 h 1466"/>
                <a:gd name="T38" fmla="*/ 1170 w 1171"/>
                <a:gd name="T39" fmla="*/ 508 h 1466"/>
                <a:gd name="T40" fmla="*/ 1168 w 1171"/>
                <a:gd name="T41" fmla="*/ 599 h 1466"/>
                <a:gd name="T42" fmla="*/ 626 w 1171"/>
                <a:gd name="T43" fmla="*/ 132 h 1466"/>
                <a:gd name="T44" fmla="*/ 626 w 1171"/>
                <a:gd name="T45" fmla="*/ 132 h 1466"/>
                <a:gd name="T46" fmla="*/ 250 w 1171"/>
                <a:gd name="T47" fmla="*/ 499 h 1466"/>
                <a:gd name="T48" fmla="*/ 456 w 1171"/>
                <a:gd name="T49" fmla="*/ 497 h 1466"/>
                <a:gd name="T50" fmla="*/ 710 w 1171"/>
                <a:gd name="T51" fmla="*/ 491 h 1466"/>
                <a:gd name="T52" fmla="*/ 911 w 1171"/>
                <a:gd name="T53" fmla="*/ 370 h 1466"/>
                <a:gd name="T54" fmla="*/ 626 w 1171"/>
                <a:gd name="T55" fmla="*/ 132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1" h="1466">
                  <a:moveTo>
                    <a:pt x="1168" y="599"/>
                  </a:moveTo>
                  <a:lnTo>
                    <a:pt x="1168" y="599"/>
                  </a:lnTo>
                  <a:cubicBezTo>
                    <a:pt x="1142" y="629"/>
                    <a:pt x="1142" y="629"/>
                    <a:pt x="1142" y="629"/>
                  </a:cubicBezTo>
                  <a:cubicBezTo>
                    <a:pt x="991" y="629"/>
                    <a:pt x="991" y="629"/>
                    <a:pt x="991" y="629"/>
                  </a:cubicBezTo>
                  <a:cubicBezTo>
                    <a:pt x="682" y="631"/>
                    <a:pt x="682" y="631"/>
                    <a:pt x="682" y="631"/>
                  </a:cubicBezTo>
                  <a:cubicBezTo>
                    <a:pt x="386" y="636"/>
                    <a:pt x="386" y="636"/>
                    <a:pt x="386" y="636"/>
                  </a:cubicBezTo>
                  <a:cubicBezTo>
                    <a:pt x="240" y="646"/>
                    <a:pt x="240" y="646"/>
                    <a:pt x="240" y="646"/>
                  </a:cubicBezTo>
                  <a:cubicBezTo>
                    <a:pt x="240" y="661"/>
                    <a:pt x="240" y="661"/>
                    <a:pt x="240" y="661"/>
                  </a:cubicBezTo>
                  <a:cubicBezTo>
                    <a:pt x="240" y="1052"/>
                    <a:pt x="440" y="1279"/>
                    <a:pt x="782" y="1279"/>
                  </a:cubicBezTo>
                  <a:cubicBezTo>
                    <a:pt x="825" y="1279"/>
                    <a:pt x="864" y="1275"/>
                    <a:pt x="903" y="1270"/>
                  </a:cubicBezTo>
                  <a:cubicBezTo>
                    <a:pt x="980" y="1257"/>
                    <a:pt x="1021" y="1238"/>
                    <a:pt x="1110" y="1180"/>
                  </a:cubicBezTo>
                  <a:cubicBezTo>
                    <a:pt x="1136" y="1195"/>
                    <a:pt x="1136" y="1195"/>
                    <a:pt x="1136" y="1195"/>
                  </a:cubicBezTo>
                  <a:cubicBezTo>
                    <a:pt x="1101" y="1290"/>
                    <a:pt x="1101" y="1290"/>
                    <a:pt x="1101" y="1290"/>
                  </a:cubicBezTo>
                  <a:cubicBezTo>
                    <a:pt x="1073" y="1391"/>
                    <a:pt x="1073" y="1391"/>
                    <a:pt x="1073" y="1391"/>
                  </a:cubicBezTo>
                  <a:cubicBezTo>
                    <a:pt x="1036" y="1405"/>
                    <a:pt x="1006" y="1413"/>
                    <a:pt x="989" y="1420"/>
                  </a:cubicBezTo>
                  <a:cubicBezTo>
                    <a:pt x="896" y="1448"/>
                    <a:pt x="782" y="1465"/>
                    <a:pt x="676" y="1465"/>
                  </a:cubicBezTo>
                  <a:cubicBezTo>
                    <a:pt x="456" y="1465"/>
                    <a:pt x="296" y="1400"/>
                    <a:pt x="177" y="1262"/>
                  </a:cubicBezTo>
                  <a:cubicBezTo>
                    <a:pt x="64" y="1126"/>
                    <a:pt x="0" y="942"/>
                    <a:pt x="0" y="750"/>
                  </a:cubicBezTo>
                  <a:cubicBezTo>
                    <a:pt x="0" y="313"/>
                    <a:pt x="276" y="0"/>
                    <a:pt x="661" y="0"/>
                  </a:cubicBezTo>
                  <a:cubicBezTo>
                    <a:pt x="974" y="0"/>
                    <a:pt x="1170" y="195"/>
                    <a:pt x="1170" y="508"/>
                  </a:cubicBezTo>
                  <a:cubicBezTo>
                    <a:pt x="1170" y="530"/>
                    <a:pt x="1170" y="555"/>
                    <a:pt x="1168" y="599"/>
                  </a:cubicBezTo>
                  <a:close/>
                  <a:moveTo>
                    <a:pt x="626" y="132"/>
                  </a:moveTo>
                  <a:lnTo>
                    <a:pt x="626" y="132"/>
                  </a:lnTo>
                  <a:cubicBezTo>
                    <a:pt x="417" y="132"/>
                    <a:pt x="283" y="260"/>
                    <a:pt x="250" y="499"/>
                  </a:cubicBezTo>
                  <a:cubicBezTo>
                    <a:pt x="456" y="497"/>
                    <a:pt x="456" y="497"/>
                    <a:pt x="456" y="497"/>
                  </a:cubicBezTo>
                  <a:cubicBezTo>
                    <a:pt x="710" y="491"/>
                    <a:pt x="710" y="491"/>
                    <a:pt x="710" y="491"/>
                  </a:cubicBezTo>
                  <a:cubicBezTo>
                    <a:pt x="853" y="488"/>
                    <a:pt x="911" y="450"/>
                    <a:pt x="911" y="370"/>
                  </a:cubicBezTo>
                  <a:cubicBezTo>
                    <a:pt x="911" y="238"/>
                    <a:pt x="782" y="132"/>
                    <a:pt x="626" y="132"/>
                  </a:cubicBez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5" name="Freeform 46"/>
            <p:cNvSpPr>
              <a:spLocks noChangeArrowheads="1"/>
            </p:cNvSpPr>
            <p:nvPr/>
          </p:nvSpPr>
          <p:spPr bwMode="auto">
            <a:xfrm>
              <a:off x="4535488" y="1727199"/>
              <a:ext cx="361950" cy="452438"/>
            </a:xfrm>
            <a:custGeom>
              <a:avLst/>
              <a:gdLst>
                <a:gd name="T0" fmla="*/ 1168 w 1172"/>
                <a:gd name="T1" fmla="*/ 601 h 1468"/>
                <a:gd name="T2" fmla="*/ 1168 w 1172"/>
                <a:gd name="T3" fmla="*/ 601 h 1468"/>
                <a:gd name="T4" fmla="*/ 1143 w 1172"/>
                <a:gd name="T5" fmla="*/ 631 h 1468"/>
                <a:gd name="T6" fmla="*/ 992 w 1172"/>
                <a:gd name="T7" fmla="*/ 631 h 1468"/>
                <a:gd name="T8" fmla="*/ 682 w 1172"/>
                <a:gd name="T9" fmla="*/ 633 h 1468"/>
                <a:gd name="T10" fmla="*/ 385 w 1172"/>
                <a:gd name="T11" fmla="*/ 638 h 1468"/>
                <a:gd name="T12" fmla="*/ 242 w 1172"/>
                <a:gd name="T13" fmla="*/ 648 h 1468"/>
                <a:gd name="T14" fmla="*/ 242 w 1172"/>
                <a:gd name="T15" fmla="*/ 663 h 1468"/>
                <a:gd name="T16" fmla="*/ 782 w 1172"/>
                <a:gd name="T17" fmla="*/ 1281 h 1468"/>
                <a:gd name="T18" fmla="*/ 903 w 1172"/>
                <a:gd name="T19" fmla="*/ 1272 h 1468"/>
                <a:gd name="T20" fmla="*/ 1112 w 1172"/>
                <a:gd name="T21" fmla="*/ 1182 h 1468"/>
                <a:gd name="T22" fmla="*/ 1136 w 1172"/>
                <a:gd name="T23" fmla="*/ 1197 h 1468"/>
                <a:gd name="T24" fmla="*/ 1102 w 1172"/>
                <a:gd name="T25" fmla="*/ 1292 h 1468"/>
                <a:gd name="T26" fmla="*/ 1073 w 1172"/>
                <a:gd name="T27" fmla="*/ 1393 h 1468"/>
                <a:gd name="T28" fmla="*/ 991 w 1172"/>
                <a:gd name="T29" fmla="*/ 1421 h 1468"/>
                <a:gd name="T30" fmla="*/ 676 w 1172"/>
                <a:gd name="T31" fmla="*/ 1467 h 1468"/>
                <a:gd name="T32" fmla="*/ 179 w 1172"/>
                <a:gd name="T33" fmla="*/ 1262 h 1468"/>
                <a:gd name="T34" fmla="*/ 0 w 1172"/>
                <a:gd name="T35" fmla="*/ 752 h 1468"/>
                <a:gd name="T36" fmla="*/ 663 w 1172"/>
                <a:gd name="T37" fmla="*/ 0 h 1468"/>
                <a:gd name="T38" fmla="*/ 1171 w 1172"/>
                <a:gd name="T39" fmla="*/ 510 h 1468"/>
                <a:gd name="T40" fmla="*/ 1168 w 1172"/>
                <a:gd name="T41" fmla="*/ 601 h 1468"/>
                <a:gd name="T42" fmla="*/ 628 w 1172"/>
                <a:gd name="T43" fmla="*/ 132 h 1468"/>
                <a:gd name="T44" fmla="*/ 628 w 1172"/>
                <a:gd name="T45" fmla="*/ 132 h 1468"/>
                <a:gd name="T46" fmla="*/ 251 w 1172"/>
                <a:gd name="T47" fmla="*/ 501 h 1468"/>
                <a:gd name="T48" fmla="*/ 458 w 1172"/>
                <a:gd name="T49" fmla="*/ 499 h 1468"/>
                <a:gd name="T50" fmla="*/ 711 w 1172"/>
                <a:gd name="T51" fmla="*/ 493 h 1468"/>
                <a:gd name="T52" fmla="*/ 912 w 1172"/>
                <a:gd name="T53" fmla="*/ 372 h 1468"/>
                <a:gd name="T54" fmla="*/ 628 w 1172"/>
                <a:gd name="T55" fmla="*/ 132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2" h="1468">
                  <a:moveTo>
                    <a:pt x="1168" y="601"/>
                  </a:moveTo>
                  <a:lnTo>
                    <a:pt x="1168" y="601"/>
                  </a:lnTo>
                  <a:cubicBezTo>
                    <a:pt x="1143" y="631"/>
                    <a:pt x="1143" y="631"/>
                    <a:pt x="1143" y="631"/>
                  </a:cubicBezTo>
                  <a:cubicBezTo>
                    <a:pt x="992" y="631"/>
                    <a:pt x="992" y="631"/>
                    <a:pt x="992" y="631"/>
                  </a:cubicBezTo>
                  <a:cubicBezTo>
                    <a:pt x="682" y="633"/>
                    <a:pt x="682" y="633"/>
                    <a:pt x="682" y="633"/>
                  </a:cubicBezTo>
                  <a:cubicBezTo>
                    <a:pt x="385" y="638"/>
                    <a:pt x="385" y="638"/>
                    <a:pt x="385" y="638"/>
                  </a:cubicBezTo>
                  <a:cubicBezTo>
                    <a:pt x="242" y="648"/>
                    <a:pt x="242" y="648"/>
                    <a:pt x="242" y="648"/>
                  </a:cubicBezTo>
                  <a:cubicBezTo>
                    <a:pt x="242" y="663"/>
                    <a:pt x="242" y="663"/>
                    <a:pt x="242" y="663"/>
                  </a:cubicBezTo>
                  <a:cubicBezTo>
                    <a:pt x="242" y="1054"/>
                    <a:pt x="441" y="1281"/>
                    <a:pt x="782" y="1281"/>
                  </a:cubicBezTo>
                  <a:cubicBezTo>
                    <a:pt x="827" y="1281"/>
                    <a:pt x="866" y="1277"/>
                    <a:pt x="903" y="1272"/>
                  </a:cubicBezTo>
                  <a:cubicBezTo>
                    <a:pt x="981" y="1257"/>
                    <a:pt x="1022" y="1240"/>
                    <a:pt x="1112" y="1182"/>
                  </a:cubicBezTo>
                  <a:cubicBezTo>
                    <a:pt x="1136" y="1197"/>
                    <a:pt x="1136" y="1197"/>
                    <a:pt x="1136" y="1197"/>
                  </a:cubicBezTo>
                  <a:cubicBezTo>
                    <a:pt x="1102" y="1292"/>
                    <a:pt x="1102" y="1292"/>
                    <a:pt x="1102" y="1292"/>
                  </a:cubicBezTo>
                  <a:cubicBezTo>
                    <a:pt x="1073" y="1393"/>
                    <a:pt x="1073" y="1393"/>
                    <a:pt x="1073" y="1393"/>
                  </a:cubicBezTo>
                  <a:cubicBezTo>
                    <a:pt x="1035" y="1407"/>
                    <a:pt x="1007" y="1415"/>
                    <a:pt x="991" y="1421"/>
                  </a:cubicBezTo>
                  <a:cubicBezTo>
                    <a:pt x="898" y="1450"/>
                    <a:pt x="782" y="1467"/>
                    <a:pt x="676" y="1467"/>
                  </a:cubicBezTo>
                  <a:cubicBezTo>
                    <a:pt x="458" y="1467"/>
                    <a:pt x="296" y="1402"/>
                    <a:pt x="179" y="1262"/>
                  </a:cubicBezTo>
                  <a:cubicBezTo>
                    <a:pt x="63" y="1128"/>
                    <a:pt x="0" y="944"/>
                    <a:pt x="0" y="752"/>
                  </a:cubicBezTo>
                  <a:cubicBezTo>
                    <a:pt x="0" y="315"/>
                    <a:pt x="277" y="0"/>
                    <a:pt x="663" y="0"/>
                  </a:cubicBezTo>
                  <a:cubicBezTo>
                    <a:pt x="976" y="0"/>
                    <a:pt x="1171" y="195"/>
                    <a:pt x="1171" y="510"/>
                  </a:cubicBezTo>
                  <a:cubicBezTo>
                    <a:pt x="1171" y="532"/>
                    <a:pt x="1171" y="557"/>
                    <a:pt x="1168" y="601"/>
                  </a:cubicBezTo>
                  <a:close/>
                  <a:moveTo>
                    <a:pt x="628" y="132"/>
                  </a:moveTo>
                  <a:lnTo>
                    <a:pt x="628" y="132"/>
                  </a:lnTo>
                  <a:cubicBezTo>
                    <a:pt x="417" y="132"/>
                    <a:pt x="285" y="262"/>
                    <a:pt x="251" y="501"/>
                  </a:cubicBezTo>
                  <a:cubicBezTo>
                    <a:pt x="458" y="499"/>
                    <a:pt x="458" y="499"/>
                    <a:pt x="458" y="499"/>
                  </a:cubicBezTo>
                  <a:cubicBezTo>
                    <a:pt x="711" y="493"/>
                    <a:pt x="711" y="493"/>
                    <a:pt x="711" y="493"/>
                  </a:cubicBezTo>
                  <a:cubicBezTo>
                    <a:pt x="855" y="490"/>
                    <a:pt x="912" y="452"/>
                    <a:pt x="912" y="372"/>
                  </a:cubicBezTo>
                  <a:cubicBezTo>
                    <a:pt x="912" y="240"/>
                    <a:pt x="782" y="132"/>
                    <a:pt x="628" y="132"/>
                  </a:cubicBez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6" name="Freeform 47"/>
            <p:cNvSpPr>
              <a:spLocks noChangeArrowheads="1"/>
            </p:cNvSpPr>
            <p:nvPr/>
          </p:nvSpPr>
          <p:spPr bwMode="auto">
            <a:xfrm>
              <a:off x="8831263" y="1727199"/>
              <a:ext cx="361950" cy="452438"/>
            </a:xfrm>
            <a:custGeom>
              <a:avLst/>
              <a:gdLst>
                <a:gd name="T0" fmla="*/ 1169 w 1172"/>
                <a:gd name="T1" fmla="*/ 601 h 1468"/>
                <a:gd name="T2" fmla="*/ 1169 w 1172"/>
                <a:gd name="T3" fmla="*/ 601 h 1468"/>
                <a:gd name="T4" fmla="*/ 1143 w 1172"/>
                <a:gd name="T5" fmla="*/ 631 h 1468"/>
                <a:gd name="T6" fmla="*/ 992 w 1172"/>
                <a:gd name="T7" fmla="*/ 631 h 1468"/>
                <a:gd name="T8" fmla="*/ 683 w 1172"/>
                <a:gd name="T9" fmla="*/ 633 h 1468"/>
                <a:gd name="T10" fmla="*/ 385 w 1172"/>
                <a:gd name="T11" fmla="*/ 638 h 1468"/>
                <a:gd name="T12" fmla="*/ 242 w 1172"/>
                <a:gd name="T13" fmla="*/ 648 h 1468"/>
                <a:gd name="T14" fmla="*/ 242 w 1172"/>
                <a:gd name="T15" fmla="*/ 663 h 1468"/>
                <a:gd name="T16" fmla="*/ 784 w 1172"/>
                <a:gd name="T17" fmla="*/ 1281 h 1468"/>
                <a:gd name="T18" fmla="*/ 903 w 1172"/>
                <a:gd name="T19" fmla="*/ 1272 h 1468"/>
                <a:gd name="T20" fmla="*/ 1111 w 1172"/>
                <a:gd name="T21" fmla="*/ 1182 h 1468"/>
                <a:gd name="T22" fmla="*/ 1137 w 1172"/>
                <a:gd name="T23" fmla="*/ 1197 h 1468"/>
                <a:gd name="T24" fmla="*/ 1102 w 1172"/>
                <a:gd name="T25" fmla="*/ 1292 h 1468"/>
                <a:gd name="T26" fmla="*/ 1074 w 1172"/>
                <a:gd name="T27" fmla="*/ 1393 h 1468"/>
                <a:gd name="T28" fmla="*/ 990 w 1172"/>
                <a:gd name="T29" fmla="*/ 1421 h 1468"/>
                <a:gd name="T30" fmla="*/ 676 w 1172"/>
                <a:gd name="T31" fmla="*/ 1467 h 1468"/>
                <a:gd name="T32" fmla="*/ 178 w 1172"/>
                <a:gd name="T33" fmla="*/ 1262 h 1468"/>
                <a:gd name="T34" fmla="*/ 0 w 1172"/>
                <a:gd name="T35" fmla="*/ 752 h 1468"/>
                <a:gd name="T36" fmla="*/ 663 w 1172"/>
                <a:gd name="T37" fmla="*/ 0 h 1468"/>
                <a:gd name="T38" fmla="*/ 1171 w 1172"/>
                <a:gd name="T39" fmla="*/ 510 h 1468"/>
                <a:gd name="T40" fmla="*/ 1169 w 1172"/>
                <a:gd name="T41" fmla="*/ 601 h 1468"/>
                <a:gd name="T42" fmla="*/ 627 w 1172"/>
                <a:gd name="T43" fmla="*/ 132 h 1468"/>
                <a:gd name="T44" fmla="*/ 627 w 1172"/>
                <a:gd name="T45" fmla="*/ 132 h 1468"/>
                <a:gd name="T46" fmla="*/ 251 w 1172"/>
                <a:gd name="T47" fmla="*/ 501 h 1468"/>
                <a:gd name="T48" fmla="*/ 458 w 1172"/>
                <a:gd name="T49" fmla="*/ 499 h 1468"/>
                <a:gd name="T50" fmla="*/ 711 w 1172"/>
                <a:gd name="T51" fmla="*/ 493 h 1468"/>
                <a:gd name="T52" fmla="*/ 912 w 1172"/>
                <a:gd name="T53" fmla="*/ 372 h 1468"/>
                <a:gd name="T54" fmla="*/ 627 w 1172"/>
                <a:gd name="T55" fmla="*/ 132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2" h="1468">
                  <a:moveTo>
                    <a:pt x="1169" y="601"/>
                  </a:moveTo>
                  <a:lnTo>
                    <a:pt x="1169" y="601"/>
                  </a:lnTo>
                  <a:cubicBezTo>
                    <a:pt x="1143" y="631"/>
                    <a:pt x="1143" y="631"/>
                    <a:pt x="1143" y="631"/>
                  </a:cubicBezTo>
                  <a:cubicBezTo>
                    <a:pt x="992" y="631"/>
                    <a:pt x="992" y="631"/>
                    <a:pt x="992" y="631"/>
                  </a:cubicBezTo>
                  <a:cubicBezTo>
                    <a:pt x="683" y="633"/>
                    <a:pt x="683" y="633"/>
                    <a:pt x="683" y="633"/>
                  </a:cubicBezTo>
                  <a:cubicBezTo>
                    <a:pt x="385" y="638"/>
                    <a:pt x="385" y="638"/>
                    <a:pt x="385" y="638"/>
                  </a:cubicBezTo>
                  <a:cubicBezTo>
                    <a:pt x="242" y="648"/>
                    <a:pt x="242" y="648"/>
                    <a:pt x="242" y="648"/>
                  </a:cubicBezTo>
                  <a:cubicBezTo>
                    <a:pt x="242" y="663"/>
                    <a:pt x="242" y="663"/>
                    <a:pt x="242" y="663"/>
                  </a:cubicBezTo>
                  <a:cubicBezTo>
                    <a:pt x="242" y="1054"/>
                    <a:pt x="441" y="1281"/>
                    <a:pt x="784" y="1281"/>
                  </a:cubicBezTo>
                  <a:cubicBezTo>
                    <a:pt x="826" y="1281"/>
                    <a:pt x="866" y="1277"/>
                    <a:pt x="903" y="1272"/>
                  </a:cubicBezTo>
                  <a:cubicBezTo>
                    <a:pt x="981" y="1257"/>
                    <a:pt x="1022" y="1240"/>
                    <a:pt x="1111" y="1182"/>
                  </a:cubicBezTo>
                  <a:cubicBezTo>
                    <a:pt x="1137" y="1197"/>
                    <a:pt x="1137" y="1197"/>
                    <a:pt x="1137" y="1197"/>
                  </a:cubicBezTo>
                  <a:cubicBezTo>
                    <a:pt x="1102" y="1292"/>
                    <a:pt x="1102" y="1292"/>
                    <a:pt x="1102" y="1292"/>
                  </a:cubicBezTo>
                  <a:cubicBezTo>
                    <a:pt x="1074" y="1393"/>
                    <a:pt x="1074" y="1393"/>
                    <a:pt x="1074" y="1393"/>
                  </a:cubicBezTo>
                  <a:cubicBezTo>
                    <a:pt x="1035" y="1407"/>
                    <a:pt x="1007" y="1415"/>
                    <a:pt x="990" y="1421"/>
                  </a:cubicBezTo>
                  <a:cubicBezTo>
                    <a:pt x="897" y="1450"/>
                    <a:pt x="784" y="1467"/>
                    <a:pt x="676" y="1467"/>
                  </a:cubicBezTo>
                  <a:cubicBezTo>
                    <a:pt x="458" y="1467"/>
                    <a:pt x="298" y="1402"/>
                    <a:pt x="178" y="1262"/>
                  </a:cubicBezTo>
                  <a:cubicBezTo>
                    <a:pt x="63" y="1128"/>
                    <a:pt x="0" y="944"/>
                    <a:pt x="0" y="752"/>
                  </a:cubicBezTo>
                  <a:cubicBezTo>
                    <a:pt x="0" y="315"/>
                    <a:pt x="277" y="0"/>
                    <a:pt x="663" y="0"/>
                  </a:cubicBezTo>
                  <a:cubicBezTo>
                    <a:pt x="975" y="0"/>
                    <a:pt x="1171" y="195"/>
                    <a:pt x="1171" y="510"/>
                  </a:cubicBezTo>
                  <a:cubicBezTo>
                    <a:pt x="1171" y="532"/>
                    <a:pt x="1171" y="557"/>
                    <a:pt x="1169" y="601"/>
                  </a:cubicBezTo>
                  <a:close/>
                  <a:moveTo>
                    <a:pt x="627" y="132"/>
                  </a:moveTo>
                  <a:lnTo>
                    <a:pt x="627" y="132"/>
                  </a:lnTo>
                  <a:cubicBezTo>
                    <a:pt x="417" y="132"/>
                    <a:pt x="285" y="262"/>
                    <a:pt x="251" y="501"/>
                  </a:cubicBezTo>
                  <a:cubicBezTo>
                    <a:pt x="458" y="499"/>
                    <a:pt x="458" y="499"/>
                    <a:pt x="458" y="499"/>
                  </a:cubicBezTo>
                  <a:cubicBezTo>
                    <a:pt x="711" y="493"/>
                    <a:pt x="711" y="493"/>
                    <a:pt x="711" y="493"/>
                  </a:cubicBezTo>
                  <a:cubicBezTo>
                    <a:pt x="854" y="490"/>
                    <a:pt x="912" y="452"/>
                    <a:pt x="912" y="372"/>
                  </a:cubicBezTo>
                  <a:cubicBezTo>
                    <a:pt x="912" y="240"/>
                    <a:pt x="784" y="132"/>
                    <a:pt x="627" y="132"/>
                  </a:cubicBez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7" name="Freeform 48"/>
            <p:cNvSpPr>
              <a:spLocks noChangeArrowheads="1"/>
            </p:cNvSpPr>
            <p:nvPr/>
          </p:nvSpPr>
          <p:spPr bwMode="auto">
            <a:xfrm>
              <a:off x="958850" y="2138362"/>
              <a:ext cx="374650" cy="346075"/>
            </a:xfrm>
            <a:custGeom>
              <a:avLst/>
              <a:gdLst>
                <a:gd name="T0" fmla="*/ 1213 w 1214"/>
                <a:gd name="T1" fmla="*/ 1121 h 1122"/>
                <a:gd name="T2" fmla="*/ 1213 w 1214"/>
                <a:gd name="T3" fmla="*/ 1121 h 1122"/>
                <a:gd name="T4" fmla="*/ 1213 w 1214"/>
                <a:gd name="T5" fmla="*/ 244 h 1122"/>
                <a:gd name="T6" fmla="*/ 600 w 1214"/>
                <a:gd name="T7" fmla="*/ 0 h 1122"/>
                <a:gd name="T8" fmla="*/ 0 w 1214"/>
                <a:gd name="T9" fmla="*/ 599 h 1122"/>
                <a:gd name="T10" fmla="*/ 218 w 1214"/>
                <a:gd name="T11" fmla="*/ 819 h 1122"/>
                <a:gd name="T12" fmla="*/ 557 w 1214"/>
                <a:gd name="T13" fmla="*/ 478 h 1122"/>
                <a:gd name="T14" fmla="*/ 905 w 1214"/>
                <a:gd name="T15" fmla="*/ 618 h 1122"/>
                <a:gd name="T16" fmla="*/ 905 w 1214"/>
                <a:gd name="T17" fmla="*/ 1121 h 1122"/>
                <a:gd name="T18" fmla="*/ 1213 w 1214"/>
                <a:gd name="T19" fmla="*/ 1121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8" name="Freeform 49"/>
            <p:cNvSpPr>
              <a:spLocks noChangeArrowheads="1"/>
            </p:cNvSpPr>
            <p:nvPr/>
          </p:nvSpPr>
          <p:spPr bwMode="auto">
            <a:xfrm>
              <a:off x="1439863" y="1177924"/>
              <a:ext cx="355600" cy="346075"/>
            </a:xfrm>
            <a:custGeom>
              <a:avLst/>
              <a:gdLst>
                <a:gd name="T0" fmla="*/ 1155 w 1156"/>
                <a:gd name="T1" fmla="*/ 520 h 1122"/>
                <a:gd name="T2" fmla="*/ 1155 w 1156"/>
                <a:gd name="T3" fmla="*/ 520 h 1122"/>
                <a:gd name="T4" fmla="*/ 937 w 1156"/>
                <a:gd name="T5" fmla="*/ 302 h 1122"/>
                <a:gd name="T6" fmla="*/ 596 w 1156"/>
                <a:gd name="T7" fmla="*/ 642 h 1122"/>
                <a:gd name="T8" fmla="*/ 309 w 1156"/>
                <a:gd name="T9" fmla="*/ 520 h 1122"/>
                <a:gd name="T10" fmla="*/ 309 w 1156"/>
                <a:gd name="T11" fmla="*/ 0 h 1122"/>
                <a:gd name="T12" fmla="*/ 0 w 1156"/>
                <a:gd name="T13" fmla="*/ 0 h 1122"/>
                <a:gd name="T14" fmla="*/ 0 w 1156"/>
                <a:gd name="T15" fmla="*/ 884 h 1122"/>
                <a:gd name="T16" fmla="*/ 553 w 1156"/>
                <a:gd name="T17" fmla="*/ 1121 h 1122"/>
                <a:gd name="T18" fmla="*/ 1155 w 1156"/>
                <a:gd name="T19" fmla="*/ 52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29" name="Freeform 50"/>
            <p:cNvSpPr>
              <a:spLocks noChangeArrowheads="1"/>
            </p:cNvSpPr>
            <p:nvPr/>
          </p:nvSpPr>
          <p:spPr bwMode="auto">
            <a:xfrm>
              <a:off x="722313" y="1892299"/>
              <a:ext cx="346075" cy="357188"/>
            </a:xfrm>
            <a:custGeom>
              <a:avLst/>
              <a:gdLst>
                <a:gd name="T0" fmla="*/ 0 w 1124"/>
                <a:gd name="T1" fmla="*/ 0 h 1155"/>
                <a:gd name="T2" fmla="*/ 0 w 1124"/>
                <a:gd name="T3" fmla="*/ 0 h 1155"/>
                <a:gd name="T4" fmla="*/ 0 w 1124"/>
                <a:gd name="T5" fmla="*/ 309 h 1155"/>
                <a:gd name="T6" fmla="*/ 521 w 1124"/>
                <a:gd name="T7" fmla="*/ 309 h 1155"/>
                <a:gd name="T8" fmla="*/ 642 w 1124"/>
                <a:gd name="T9" fmla="*/ 596 h 1155"/>
                <a:gd name="T10" fmla="*/ 304 w 1124"/>
                <a:gd name="T11" fmla="*/ 937 h 1155"/>
                <a:gd name="T12" fmla="*/ 521 w 1124"/>
                <a:gd name="T13" fmla="*/ 1154 h 1155"/>
                <a:gd name="T14" fmla="*/ 1123 w 1124"/>
                <a:gd name="T15" fmla="*/ 553 h 1155"/>
                <a:gd name="T16" fmla="*/ 886 w 1124"/>
                <a:gd name="T17" fmla="*/ 0 h 1155"/>
                <a:gd name="T18" fmla="*/ 0 w 1124"/>
                <a:gd name="T19" fmla="*/ 0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30" name="Freeform 51"/>
            <p:cNvSpPr>
              <a:spLocks noChangeArrowheads="1"/>
            </p:cNvSpPr>
            <p:nvPr/>
          </p:nvSpPr>
          <p:spPr bwMode="auto">
            <a:xfrm>
              <a:off x="958850" y="1177924"/>
              <a:ext cx="376238" cy="346075"/>
            </a:xfrm>
            <a:custGeom>
              <a:avLst/>
              <a:gdLst>
                <a:gd name="T0" fmla="*/ 1214 w 1215"/>
                <a:gd name="T1" fmla="*/ 0 h 1122"/>
                <a:gd name="T2" fmla="*/ 1214 w 1215"/>
                <a:gd name="T3" fmla="*/ 0 h 1122"/>
                <a:gd name="T4" fmla="*/ 906 w 1215"/>
                <a:gd name="T5" fmla="*/ 0 h 1122"/>
                <a:gd name="T6" fmla="*/ 906 w 1215"/>
                <a:gd name="T7" fmla="*/ 501 h 1122"/>
                <a:gd name="T8" fmla="*/ 558 w 1215"/>
                <a:gd name="T9" fmla="*/ 642 h 1122"/>
                <a:gd name="T10" fmla="*/ 219 w 1215"/>
                <a:gd name="T11" fmla="*/ 302 h 1122"/>
                <a:gd name="T12" fmla="*/ 0 w 1215"/>
                <a:gd name="T13" fmla="*/ 520 h 1122"/>
                <a:gd name="T14" fmla="*/ 601 w 1215"/>
                <a:gd name="T15" fmla="*/ 1121 h 1122"/>
                <a:gd name="T16" fmla="*/ 1214 w 1215"/>
                <a:gd name="T17" fmla="*/ 877 h 1122"/>
                <a:gd name="T18" fmla="*/ 1214 w 1215"/>
                <a:gd name="T19"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31" name="Freeform 52"/>
            <p:cNvSpPr>
              <a:spLocks noChangeArrowheads="1"/>
            </p:cNvSpPr>
            <p:nvPr/>
          </p:nvSpPr>
          <p:spPr bwMode="auto">
            <a:xfrm>
              <a:off x="1439863" y="2138362"/>
              <a:ext cx="355600" cy="346075"/>
            </a:xfrm>
            <a:custGeom>
              <a:avLst/>
              <a:gdLst>
                <a:gd name="T0" fmla="*/ 309 w 1156"/>
                <a:gd name="T1" fmla="*/ 1121 h 1122"/>
                <a:gd name="T2" fmla="*/ 309 w 1156"/>
                <a:gd name="T3" fmla="*/ 1121 h 1122"/>
                <a:gd name="T4" fmla="*/ 309 w 1156"/>
                <a:gd name="T5" fmla="*/ 601 h 1122"/>
                <a:gd name="T6" fmla="*/ 596 w 1156"/>
                <a:gd name="T7" fmla="*/ 478 h 1122"/>
                <a:gd name="T8" fmla="*/ 937 w 1156"/>
                <a:gd name="T9" fmla="*/ 819 h 1122"/>
                <a:gd name="T10" fmla="*/ 1155 w 1156"/>
                <a:gd name="T11" fmla="*/ 599 h 1122"/>
                <a:gd name="T12" fmla="*/ 553 w 1156"/>
                <a:gd name="T13" fmla="*/ 0 h 1122"/>
                <a:gd name="T14" fmla="*/ 0 w 1156"/>
                <a:gd name="T15" fmla="*/ 236 h 1122"/>
                <a:gd name="T16" fmla="*/ 0 w 1156"/>
                <a:gd name="T17" fmla="*/ 1121 h 1122"/>
                <a:gd name="T18" fmla="*/ 309 w 1156"/>
                <a:gd name="T19" fmla="*/ 1121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32" name="Freeform 53"/>
            <p:cNvSpPr>
              <a:spLocks noChangeArrowheads="1"/>
            </p:cNvSpPr>
            <p:nvPr/>
          </p:nvSpPr>
          <p:spPr bwMode="auto">
            <a:xfrm>
              <a:off x="1685925" y="1412874"/>
              <a:ext cx="344488" cy="376238"/>
            </a:xfrm>
            <a:custGeom>
              <a:avLst/>
              <a:gdLst>
                <a:gd name="T0" fmla="*/ 1121 w 1122"/>
                <a:gd name="T1" fmla="*/ 905 h 1215"/>
                <a:gd name="T2" fmla="*/ 1121 w 1122"/>
                <a:gd name="T3" fmla="*/ 905 h 1215"/>
                <a:gd name="T4" fmla="*/ 620 w 1122"/>
                <a:gd name="T5" fmla="*/ 905 h 1215"/>
                <a:gd name="T6" fmla="*/ 481 w 1122"/>
                <a:gd name="T7" fmla="*/ 559 h 1215"/>
                <a:gd name="T8" fmla="*/ 820 w 1122"/>
                <a:gd name="T9" fmla="*/ 218 h 1215"/>
                <a:gd name="T10" fmla="*/ 602 w 1122"/>
                <a:gd name="T11" fmla="*/ 0 h 1215"/>
                <a:gd name="T12" fmla="*/ 0 w 1122"/>
                <a:gd name="T13" fmla="*/ 602 h 1215"/>
                <a:gd name="T14" fmla="*/ 244 w 1122"/>
                <a:gd name="T15" fmla="*/ 1214 h 1215"/>
                <a:gd name="T16" fmla="*/ 1121 w 1122"/>
                <a:gd name="T17" fmla="*/ 1214 h 1215"/>
                <a:gd name="T18" fmla="*/ 1121 w 1122"/>
                <a:gd name="T19" fmla="*/ 905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33" name="Freeform 54"/>
            <p:cNvSpPr>
              <a:spLocks noChangeArrowheads="1"/>
            </p:cNvSpPr>
            <p:nvPr/>
          </p:nvSpPr>
          <p:spPr bwMode="auto">
            <a:xfrm>
              <a:off x="722313" y="1412874"/>
              <a:ext cx="346075" cy="376238"/>
            </a:xfrm>
            <a:custGeom>
              <a:avLst/>
              <a:gdLst>
                <a:gd name="T0" fmla="*/ 521 w 1124"/>
                <a:gd name="T1" fmla="*/ 0 h 1215"/>
                <a:gd name="T2" fmla="*/ 521 w 1124"/>
                <a:gd name="T3" fmla="*/ 0 h 1215"/>
                <a:gd name="T4" fmla="*/ 304 w 1124"/>
                <a:gd name="T5" fmla="*/ 218 h 1215"/>
                <a:gd name="T6" fmla="*/ 642 w 1124"/>
                <a:gd name="T7" fmla="*/ 559 h 1215"/>
                <a:gd name="T8" fmla="*/ 503 w 1124"/>
                <a:gd name="T9" fmla="*/ 905 h 1215"/>
                <a:gd name="T10" fmla="*/ 0 w 1124"/>
                <a:gd name="T11" fmla="*/ 905 h 1215"/>
                <a:gd name="T12" fmla="*/ 0 w 1124"/>
                <a:gd name="T13" fmla="*/ 1214 h 1215"/>
                <a:gd name="T14" fmla="*/ 877 w 1124"/>
                <a:gd name="T15" fmla="*/ 1214 h 1215"/>
                <a:gd name="T16" fmla="*/ 1123 w 1124"/>
                <a:gd name="T17" fmla="*/ 602 h 1215"/>
                <a:gd name="T18" fmla="*/ 521 w 1124"/>
                <a:gd name="T19" fmla="*/ 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sp>
          <p:nvSpPr>
            <p:cNvPr id="34" name="Freeform 55"/>
            <p:cNvSpPr>
              <a:spLocks noChangeArrowheads="1"/>
            </p:cNvSpPr>
            <p:nvPr/>
          </p:nvSpPr>
          <p:spPr bwMode="auto">
            <a:xfrm>
              <a:off x="1685925" y="1892299"/>
              <a:ext cx="344488" cy="357188"/>
            </a:xfrm>
            <a:custGeom>
              <a:avLst/>
              <a:gdLst>
                <a:gd name="T0" fmla="*/ 602 w 1122"/>
                <a:gd name="T1" fmla="*/ 1154 h 1155"/>
                <a:gd name="T2" fmla="*/ 602 w 1122"/>
                <a:gd name="T3" fmla="*/ 1154 h 1155"/>
                <a:gd name="T4" fmla="*/ 820 w 1122"/>
                <a:gd name="T5" fmla="*/ 935 h 1155"/>
                <a:gd name="T6" fmla="*/ 481 w 1122"/>
                <a:gd name="T7" fmla="*/ 596 h 1155"/>
                <a:gd name="T8" fmla="*/ 602 w 1122"/>
                <a:gd name="T9" fmla="*/ 309 h 1155"/>
                <a:gd name="T10" fmla="*/ 1121 w 1122"/>
                <a:gd name="T11" fmla="*/ 309 h 1155"/>
                <a:gd name="T12" fmla="*/ 1121 w 1122"/>
                <a:gd name="T13" fmla="*/ 0 h 1155"/>
                <a:gd name="T14" fmla="*/ 237 w 1122"/>
                <a:gd name="T15" fmla="*/ 0 h 1155"/>
                <a:gd name="T16" fmla="*/ 0 w 1122"/>
                <a:gd name="T17" fmla="*/ 553 h 1155"/>
                <a:gd name="T18" fmla="*/ 602 w 1122"/>
                <a:gd name="T19" fmla="*/ 1154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p>
          </p:txBody>
        </p:sp>
      </p:grpSp>
      <p:sp>
        <p:nvSpPr>
          <p:cNvPr id="35" name="Rectangle 34"/>
          <p:cNvSpPr/>
          <p:nvPr userDrawn="1"/>
        </p:nvSpPr>
        <p:spPr>
          <a:xfrm>
            <a:off x="271272" y="257955"/>
            <a:ext cx="1489219" cy="149352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p:cNvSpPr/>
          <p:nvPr userDrawn="1"/>
        </p:nvSpPr>
        <p:spPr>
          <a:xfrm>
            <a:off x="271272" y="1823556"/>
            <a:ext cx="1489219" cy="149352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37" name="Rectangle 36"/>
          <p:cNvSpPr/>
          <p:nvPr userDrawn="1"/>
        </p:nvSpPr>
        <p:spPr>
          <a:xfrm>
            <a:off x="271272" y="3389332"/>
            <a:ext cx="1489219" cy="149352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p:cNvSpPr/>
          <p:nvPr userDrawn="1"/>
        </p:nvSpPr>
        <p:spPr>
          <a:xfrm>
            <a:off x="1835145" y="3389332"/>
            <a:ext cx="1489219" cy="149352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userDrawn="1"/>
        </p:nvSpPr>
        <p:spPr>
          <a:xfrm>
            <a:off x="3408917" y="3389332"/>
            <a:ext cx="1489219" cy="149352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userDrawn="1"/>
        </p:nvSpPr>
        <p:spPr>
          <a:xfrm>
            <a:off x="1835145" y="1823556"/>
            <a:ext cx="1489219" cy="14935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41" name="Text Placeholder 2"/>
          <p:cNvSpPr>
            <a:spLocks noGrp="1"/>
          </p:cNvSpPr>
          <p:nvPr>
            <p:ph idx="1" hasCustomPrompt="1"/>
          </p:nvPr>
        </p:nvSpPr>
        <p:spPr>
          <a:xfrm>
            <a:off x="6831670" y="3389332"/>
            <a:ext cx="2057400" cy="611168"/>
          </a:xfrm>
          <a:prstGeom prst="rect">
            <a:avLst/>
          </a:prstGeom>
        </p:spPr>
        <p:txBody>
          <a:bodyPr vert="horz" wrap="square" lIns="0" tIns="0" rIns="0" bIns="0" rtlCol="0">
            <a:noAutofit/>
          </a:bodyPr>
          <a:lstStyle>
            <a:lvl1pPr marL="0" indent="0" algn="r">
              <a:buNone/>
              <a:defRPr sz="1600">
                <a:solidFill>
                  <a:srgbClr val="363534"/>
                </a:solidFill>
              </a:defRPr>
            </a:lvl1pPr>
            <a:lvl2pPr algn="r">
              <a:defRPr sz="1600">
                <a:solidFill>
                  <a:srgbClr val="7F7F7F"/>
                </a:solidFill>
              </a:defRPr>
            </a:lvl2pPr>
            <a:lvl3pPr algn="r">
              <a:defRPr sz="1600">
                <a:solidFill>
                  <a:srgbClr val="7F7F7F"/>
                </a:solidFill>
              </a:defRPr>
            </a:lvl3pPr>
            <a:lvl4pPr algn="r">
              <a:defRPr sz="1600">
                <a:solidFill>
                  <a:srgbClr val="7F7F7F"/>
                </a:solidFill>
              </a:defRPr>
            </a:lvl4pPr>
            <a:lvl5pPr algn="r">
              <a:defRPr sz="1600">
                <a:solidFill>
                  <a:srgbClr val="7F7F7F"/>
                </a:solidFill>
              </a:defRPr>
            </a:lvl5pPr>
          </a:lstStyle>
          <a:p>
            <a:pPr lvl="0"/>
            <a:r>
              <a:rPr lang="en-US" dirty="0" smtClean="0"/>
              <a:t>Click to edit Master text styles</a:t>
            </a:r>
            <a:endParaRPr lang="en-US" dirty="0"/>
          </a:p>
        </p:txBody>
      </p:sp>
      <p:sp>
        <p:nvSpPr>
          <p:cNvPr id="42" name="Title Placeholder 1"/>
          <p:cNvSpPr>
            <a:spLocks noGrp="1"/>
          </p:cNvSpPr>
          <p:nvPr>
            <p:ph type="title"/>
          </p:nvPr>
        </p:nvSpPr>
        <p:spPr>
          <a:xfrm>
            <a:off x="4749800" y="1757472"/>
            <a:ext cx="4139270" cy="1253020"/>
          </a:xfrm>
          <a:prstGeom prst="rect">
            <a:avLst/>
          </a:prstGeom>
        </p:spPr>
        <p:txBody>
          <a:bodyPr vert="horz" wrap="square" lIns="0" tIns="0" rIns="0" bIns="0" rtlCol="0" anchor="t" anchorCtr="0">
            <a:noAutofit/>
          </a:bodyPr>
          <a:lstStyle>
            <a:lvl1pPr algn="r">
              <a:lnSpc>
                <a:spcPts val="2900"/>
              </a:lnSpc>
              <a:defRPr sz="2800" spc="0" baseline="0">
                <a:solidFill>
                  <a:schemeClr val="accent5"/>
                </a:solidFill>
              </a:defRPr>
            </a:lvl1pPr>
          </a:lstStyle>
          <a:p>
            <a:r>
              <a:rPr lang="en-US" dirty="0" smtClean="0"/>
              <a:t>Click to edit Master title style</a:t>
            </a:r>
            <a:endParaRPr lang="en-US" dirty="0"/>
          </a:p>
        </p:txBody>
      </p:sp>
      <p:grpSp>
        <p:nvGrpSpPr>
          <p:cNvPr id="43" name="Group 6"/>
          <p:cNvGrpSpPr>
            <a:grpSpLocks/>
          </p:cNvGrpSpPr>
          <p:nvPr userDrawn="1"/>
        </p:nvGrpSpPr>
        <p:grpSpPr bwMode="auto">
          <a:xfrm>
            <a:off x="566928" y="571465"/>
            <a:ext cx="3986784" cy="3989516"/>
            <a:chOff x="3490941" y="4189516"/>
            <a:chExt cx="3098742" cy="3095521"/>
          </a:xfrm>
          <a:solidFill>
            <a:schemeClr val="bg1">
              <a:alpha val="20000"/>
            </a:schemeClr>
          </a:solidFill>
        </p:grpSpPr>
        <p:sp>
          <p:nvSpPr>
            <p:cNvPr id="44" name="Freeform 48"/>
            <p:cNvSpPr>
              <a:spLocks noChangeArrowheads="1"/>
            </p:cNvSpPr>
            <p:nvPr/>
          </p:nvSpPr>
          <p:spPr bwMode="auto">
            <a:xfrm>
              <a:off x="4051421" y="6466867"/>
              <a:ext cx="885813" cy="818170"/>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45" name="Freeform 49"/>
            <p:cNvSpPr>
              <a:spLocks noChangeArrowheads="1"/>
            </p:cNvSpPr>
            <p:nvPr/>
          </p:nvSpPr>
          <p:spPr bwMode="auto">
            <a:xfrm>
              <a:off x="5188484" y="4189516"/>
              <a:ext cx="843940" cy="818170"/>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46" name="Freeform 50"/>
            <p:cNvSpPr>
              <a:spLocks noChangeArrowheads="1"/>
            </p:cNvSpPr>
            <p:nvPr/>
          </p:nvSpPr>
          <p:spPr bwMode="auto">
            <a:xfrm>
              <a:off x="3490941" y="5883838"/>
              <a:ext cx="821392" cy="843940"/>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47" name="Freeform 51"/>
            <p:cNvSpPr>
              <a:spLocks noChangeArrowheads="1"/>
            </p:cNvSpPr>
            <p:nvPr/>
          </p:nvSpPr>
          <p:spPr bwMode="auto">
            <a:xfrm>
              <a:off x="4051421" y="4189516"/>
              <a:ext cx="889037" cy="818170"/>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48" name="Freeform 52"/>
            <p:cNvSpPr>
              <a:spLocks noChangeArrowheads="1"/>
            </p:cNvSpPr>
            <p:nvPr/>
          </p:nvSpPr>
          <p:spPr bwMode="auto">
            <a:xfrm>
              <a:off x="5188484" y="6466867"/>
              <a:ext cx="843940" cy="818170"/>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49" name="Freeform 53"/>
            <p:cNvSpPr>
              <a:spLocks noChangeArrowheads="1"/>
            </p:cNvSpPr>
            <p:nvPr/>
          </p:nvSpPr>
          <p:spPr bwMode="auto">
            <a:xfrm>
              <a:off x="5771513" y="4746772"/>
              <a:ext cx="818170" cy="889037"/>
            </a:xfrm>
            <a:custGeom>
              <a:avLst/>
              <a:gdLst>
                <a:gd name="T0" fmla="*/ 817441 w 1122"/>
                <a:gd name="T1" fmla="*/ 662205 h 1215"/>
                <a:gd name="T2" fmla="*/ 817441 w 1122"/>
                <a:gd name="T3" fmla="*/ 662205 h 1215"/>
                <a:gd name="T4" fmla="*/ 452108 w 1122"/>
                <a:gd name="T5" fmla="*/ 662205 h 1215"/>
                <a:gd name="T6" fmla="*/ 350748 w 1122"/>
                <a:gd name="T7" fmla="*/ 409030 h 1215"/>
                <a:gd name="T8" fmla="*/ 597950 w 1122"/>
                <a:gd name="T9" fmla="*/ 159514 h 1215"/>
                <a:gd name="T10" fmla="*/ 438982 w 1122"/>
                <a:gd name="T11" fmla="*/ 0 h 1215"/>
                <a:gd name="T12" fmla="*/ 0 w 1122"/>
                <a:gd name="T13" fmla="*/ 440494 h 1215"/>
                <a:gd name="T14" fmla="*/ 177926 w 1122"/>
                <a:gd name="T15" fmla="*/ 888305 h 1215"/>
                <a:gd name="T16" fmla="*/ 817441 w 1122"/>
                <a:gd name="T17" fmla="*/ 888305 h 1215"/>
                <a:gd name="T18" fmla="*/ 817441 w 1122"/>
                <a:gd name="T19" fmla="*/ 662205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50" name="Freeform 54"/>
            <p:cNvSpPr>
              <a:spLocks noChangeArrowheads="1"/>
            </p:cNvSpPr>
            <p:nvPr/>
          </p:nvSpPr>
          <p:spPr bwMode="auto">
            <a:xfrm>
              <a:off x="3490941" y="4746772"/>
              <a:ext cx="821392" cy="889037"/>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51" name="Freeform 55"/>
            <p:cNvSpPr>
              <a:spLocks noChangeArrowheads="1"/>
            </p:cNvSpPr>
            <p:nvPr/>
          </p:nvSpPr>
          <p:spPr bwMode="auto">
            <a:xfrm>
              <a:off x="5771513" y="5883838"/>
              <a:ext cx="818170" cy="843940"/>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grpSp>
      <p:pic>
        <p:nvPicPr>
          <p:cNvPr id="52"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7466" t="14427" r="23091" b="11948"/>
          <a:stretch/>
        </p:blipFill>
        <p:spPr bwMode="auto">
          <a:xfrm>
            <a:off x="274407" y="1833270"/>
            <a:ext cx="1490472" cy="14946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027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alphaModFix amt="85000"/>
            <a:extLst>
              <a:ext uri="{28A0092B-C50C-407E-A947-70E740481C1C}">
                <a14:useLocalDpi xmlns:a14="http://schemas.microsoft.com/office/drawing/2010/main" val="0"/>
              </a:ext>
            </a:extLst>
          </a:blip>
          <a:stretch>
            <a:fillRect/>
          </a:stretch>
        </p:blipFill>
        <p:spPr>
          <a:xfrm>
            <a:off x="4975455" y="987162"/>
            <a:ext cx="4168545" cy="4156338"/>
          </a:xfrm>
          <a:prstGeom prst="rect">
            <a:avLst/>
          </a:prstGeom>
        </p:spPr>
      </p:pic>
      <p:sp>
        <p:nvSpPr>
          <p:cNvPr id="7" name="Title Placeholder 1"/>
          <p:cNvSpPr>
            <a:spLocks noGrp="1"/>
          </p:cNvSpPr>
          <p:nvPr>
            <p:ph type="title"/>
          </p:nvPr>
        </p:nvSpPr>
        <p:spPr>
          <a:xfrm>
            <a:off x="347472" y="347472"/>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accent5"/>
                </a:solidFill>
              </a:defRPr>
            </a:lvl1pPr>
          </a:lstStyle>
          <a:p>
            <a:r>
              <a:rPr lang="en-US" dirty="0" smtClean="0"/>
              <a:t>Click to edit Master title style</a:t>
            </a:r>
            <a:endParaRPr lang="en-US" dirty="0"/>
          </a:p>
        </p:txBody>
      </p:sp>
      <p:sp>
        <p:nvSpPr>
          <p:cNvPr id="8" name="Text Placeholder 2"/>
          <p:cNvSpPr>
            <a:spLocks noGrp="1"/>
          </p:cNvSpPr>
          <p:nvPr>
            <p:ph idx="1"/>
          </p:nvPr>
        </p:nvSpPr>
        <p:spPr>
          <a:xfrm>
            <a:off x="347472" y="1143000"/>
            <a:ext cx="8494776" cy="3412172"/>
          </a:xfrm>
          <a:prstGeom prst="rect">
            <a:avLst/>
          </a:prstGeom>
        </p:spPr>
        <p:txBody>
          <a:bodyPr vert="horz" lIns="0" tIns="0" rIns="0" bIns="0" rtlCol="0">
            <a:normAutofit/>
          </a:bodyPr>
          <a:lstStyle>
            <a:lvl1pPr marL="233363" indent="-233363">
              <a:lnSpc>
                <a:spcPts val="2000"/>
              </a:lnSpc>
              <a:buClr>
                <a:schemeClr val="accent1"/>
              </a:buClr>
              <a:defRPr sz="1800">
                <a:solidFill>
                  <a:srgbClr val="747678"/>
                </a:solidFill>
              </a:defRPr>
            </a:lvl1pPr>
            <a:lvl2pPr marL="454025" indent="-220663">
              <a:lnSpc>
                <a:spcPts val="2000"/>
              </a:lnSpc>
              <a:buClr>
                <a:schemeClr val="accent2"/>
              </a:buClr>
              <a:defRPr sz="1800">
                <a:solidFill>
                  <a:srgbClr val="747678"/>
                </a:solidFill>
              </a:defRPr>
            </a:lvl2pPr>
            <a:lvl3pPr marL="687388" indent="-233363">
              <a:lnSpc>
                <a:spcPts val="2000"/>
              </a:lnSpc>
              <a:buClr>
                <a:schemeClr val="accent2"/>
              </a:buClr>
              <a:defRPr sz="1800">
                <a:solidFill>
                  <a:srgbClr val="747678"/>
                </a:solidFill>
              </a:defRPr>
            </a:lvl3pPr>
            <a:lvl4pPr marL="908050" indent="-220663">
              <a:lnSpc>
                <a:spcPts val="2000"/>
              </a:lnSpc>
              <a:buClr>
                <a:schemeClr val="accent2"/>
              </a:buClr>
              <a:defRPr sz="1800">
                <a:solidFill>
                  <a:srgbClr val="747678"/>
                </a:solidFill>
              </a:defRPr>
            </a:lvl4pPr>
            <a:lvl5pPr marL="1193800" indent="-285750">
              <a:lnSpc>
                <a:spcPts val="2000"/>
              </a:lnSpc>
              <a:buClr>
                <a:schemeClr val="accent2"/>
              </a:buClr>
              <a:buFont typeface="Arial"/>
              <a:buChar char="•"/>
              <a:defRPr sz="1800">
                <a:solidFill>
                  <a:srgbClr val="747678"/>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6663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alphaModFix amt="85000"/>
            <a:extLst>
              <a:ext uri="{28A0092B-C50C-407E-A947-70E740481C1C}">
                <a14:useLocalDpi xmlns:a14="http://schemas.microsoft.com/office/drawing/2010/main" val="0"/>
              </a:ext>
            </a:extLst>
          </a:blip>
          <a:stretch>
            <a:fillRect/>
          </a:stretch>
        </p:blipFill>
        <p:spPr>
          <a:xfrm>
            <a:off x="4975455" y="987162"/>
            <a:ext cx="4168545" cy="4156338"/>
          </a:xfrm>
          <a:prstGeom prst="rect">
            <a:avLst/>
          </a:prstGeom>
        </p:spPr>
      </p:pic>
      <p:sp>
        <p:nvSpPr>
          <p:cNvPr id="7" name="Title Placeholder 1"/>
          <p:cNvSpPr>
            <a:spLocks noGrp="1"/>
          </p:cNvSpPr>
          <p:nvPr>
            <p:ph type="title"/>
          </p:nvPr>
        </p:nvSpPr>
        <p:spPr>
          <a:xfrm>
            <a:off x="347472" y="347472"/>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accent5"/>
                </a:solidFill>
              </a:defRPr>
            </a:lvl1pPr>
          </a:lstStyle>
          <a:p>
            <a:r>
              <a:rPr lang="en-US" dirty="0" smtClean="0"/>
              <a:t>Click to edit Master title style</a:t>
            </a:r>
            <a:endParaRPr lang="en-US" dirty="0"/>
          </a:p>
        </p:txBody>
      </p:sp>
      <p:sp>
        <p:nvSpPr>
          <p:cNvPr id="8" name="Text Placeholder 2"/>
          <p:cNvSpPr>
            <a:spLocks noGrp="1"/>
          </p:cNvSpPr>
          <p:nvPr>
            <p:ph idx="1"/>
          </p:nvPr>
        </p:nvSpPr>
        <p:spPr>
          <a:xfrm>
            <a:off x="347472" y="1143000"/>
            <a:ext cx="8494776" cy="3412172"/>
          </a:xfrm>
          <a:prstGeom prst="rect">
            <a:avLst/>
          </a:prstGeom>
        </p:spPr>
        <p:txBody>
          <a:bodyPr vert="horz" lIns="0" tIns="0" rIns="0" bIns="0" rtlCol="0">
            <a:normAutofit/>
          </a:bodyPr>
          <a:lstStyle>
            <a:lvl1pPr marL="233363" indent="-233363">
              <a:lnSpc>
                <a:spcPts val="2000"/>
              </a:lnSpc>
              <a:buClr>
                <a:schemeClr val="accent1"/>
              </a:buClr>
              <a:defRPr sz="1800">
                <a:solidFill>
                  <a:srgbClr val="747678"/>
                </a:solidFill>
              </a:defRPr>
            </a:lvl1pPr>
            <a:lvl2pPr marL="454025" indent="-220663">
              <a:lnSpc>
                <a:spcPts val="2000"/>
              </a:lnSpc>
              <a:buClr>
                <a:schemeClr val="accent2"/>
              </a:buClr>
              <a:defRPr sz="1800">
                <a:solidFill>
                  <a:srgbClr val="747678"/>
                </a:solidFill>
              </a:defRPr>
            </a:lvl2pPr>
            <a:lvl3pPr marL="687388" indent="-233363">
              <a:lnSpc>
                <a:spcPts val="2000"/>
              </a:lnSpc>
              <a:buClr>
                <a:schemeClr val="accent2"/>
              </a:buClr>
              <a:defRPr sz="1800">
                <a:solidFill>
                  <a:srgbClr val="747678"/>
                </a:solidFill>
              </a:defRPr>
            </a:lvl3pPr>
            <a:lvl4pPr marL="908050" indent="-220663">
              <a:lnSpc>
                <a:spcPts val="2000"/>
              </a:lnSpc>
              <a:buClr>
                <a:schemeClr val="accent2"/>
              </a:buClr>
              <a:defRPr sz="1800">
                <a:solidFill>
                  <a:srgbClr val="747678"/>
                </a:solidFill>
              </a:defRPr>
            </a:lvl4pPr>
            <a:lvl5pPr marL="1193800" indent="-285750">
              <a:lnSpc>
                <a:spcPts val="2000"/>
              </a:lnSpc>
              <a:buClr>
                <a:schemeClr val="accent2"/>
              </a:buClr>
              <a:buFont typeface="Arial"/>
              <a:buChar char="•"/>
              <a:defRPr sz="1800">
                <a:solidFill>
                  <a:srgbClr val="747678"/>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4274872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Tree>
    <p:extLst>
      <p:ext uri="{BB962C8B-B14F-4D97-AF65-F5344CB8AC3E}">
        <p14:creationId xmlns:p14="http://schemas.microsoft.com/office/powerpoint/2010/main" val="247096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40" name="Rectangle 39"/>
          <p:cNvSpPr/>
          <p:nvPr userDrawn="1"/>
        </p:nvSpPr>
        <p:spPr>
          <a:xfrm>
            <a:off x="1796140" y="343940"/>
            <a:ext cx="7019777" cy="42829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dirty="0">
              <a:solidFill>
                <a:prstClr val="white"/>
              </a:solidFill>
            </a:endParaRPr>
          </a:p>
        </p:txBody>
      </p:sp>
      <p:pic>
        <p:nvPicPr>
          <p:cNvPr id="42" name="Picture 41" descr="SmBusinessUser6_iStock_000067394109_XXXLarge_PPT.jpg"/>
          <p:cNvPicPr>
            <a:picLocks noChangeAspect="1"/>
          </p:cNvPicPr>
          <p:nvPr userDrawn="1"/>
        </p:nvPicPr>
        <p:blipFill rotWithShape="1">
          <a:blip r:embed="rId2">
            <a:extLst>
              <a:ext uri="{28A0092B-C50C-407E-A947-70E740481C1C}">
                <a14:useLocalDpi xmlns:a14="http://schemas.microsoft.com/office/drawing/2010/main" val="0"/>
              </a:ext>
            </a:extLst>
          </a:blip>
          <a:srcRect l="27750" t="20779" r="45710" b="39380"/>
          <a:stretch/>
        </p:blipFill>
        <p:spPr>
          <a:xfrm>
            <a:off x="348936" y="3245941"/>
            <a:ext cx="1376687" cy="1376687"/>
          </a:xfrm>
          <a:prstGeom prst="rect">
            <a:avLst/>
          </a:prstGeom>
        </p:spPr>
      </p:pic>
      <p:sp>
        <p:nvSpPr>
          <p:cNvPr id="43" name="Rectangle 42"/>
          <p:cNvSpPr/>
          <p:nvPr userDrawn="1"/>
        </p:nvSpPr>
        <p:spPr>
          <a:xfrm>
            <a:off x="347475" y="3240903"/>
            <a:ext cx="1378145" cy="1381722"/>
          </a:xfrm>
          <a:prstGeom prst="rect">
            <a:avLst/>
          </a:prstGeom>
          <a:solidFill>
            <a:schemeClr val="accent4">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pic>
        <p:nvPicPr>
          <p:cNvPr id="44" name="Picture 43" descr="TCH223_SmallBiz_169_300.jpg"/>
          <p:cNvPicPr>
            <a:picLocks noChangeAspect="1"/>
          </p:cNvPicPr>
          <p:nvPr userDrawn="1"/>
        </p:nvPicPr>
        <p:blipFill rotWithShape="1">
          <a:blip r:embed="rId3">
            <a:extLst>
              <a:ext uri="{28A0092B-C50C-407E-A947-70E740481C1C}">
                <a14:useLocalDpi xmlns:a14="http://schemas.microsoft.com/office/drawing/2010/main" val="0"/>
              </a:ext>
            </a:extLst>
          </a:blip>
          <a:srcRect l="44009" t="10109" r="15045" b="17149"/>
          <a:stretch/>
        </p:blipFill>
        <p:spPr>
          <a:xfrm>
            <a:off x="347477" y="1796007"/>
            <a:ext cx="1376687" cy="1376687"/>
          </a:xfrm>
          <a:prstGeom prst="rect">
            <a:avLst/>
          </a:prstGeom>
        </p:spPr>
      </p:pic>
      <p:pic>
        <p:nvPicPr>
          <p:cNvPr id="45" name="Picture 2"/>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7466" t="14427" r="23091" b="11948"/>
          <a:stretch/>
        </p:blipFill>
        <p:spPr bwMode="auto">
          <a:xfrm>
            <a:off x="348839" y="343942"/>
            <a:ext cx="1376780" cy="1380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6" name="Rectangle 45"/>
          <p:cNvSpPr/>
          <p:nvPr userDrawn="1"/>
        </p:nvSpPr>
        <p:spPr>
          <a:xfrm>
            <a:off x="347475" y="343941"/>
            <a:ext cx="1378145" cy="1381722"/>
          </a:xfrm>
          <a:prstGeom prst="rect">
            <a:avLst/>
          </a:prstGeom>
          <a:solidFill>
            <a:schemeClr val="accent3">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dirty="0">
              <a:solidFill>
                <a:prstClr val="white"/>
              </a:solidFill>
            </a:endParaRPr>
          </a:p>
        </p:txBody>
      </p:sp>
      <p:grpSp>
        <p:nvGrpSpPr>
          <p:cNvPr id="31" name="Group 30"/>
          <p:cNvGrpSpPr/>
          <p:nvPr userDrawn="1"/>
        </p:nvGrpSpPr>
        <p:grpSpPr>
          <a:xfrm>
            <a:off x="453890" y="1909704"/>
            <a:ext cx="2589458" cy="2586805"/>
            <a:chOff x="495906" y="2527904"/>
            <a:chExt cx="3611846" cy="3608145"/>
          </a:xfrm>
        </p:grpSpPr>
        <p:sp>
          <p:nvSpPr>
            <p:cNvPr id="32" name="Freeform 48"/>
            <p:cNvSpPr>
              <a:spLocks noChangeArrowheads="1"/>
            </p:cNvSpPr>
            <p:nvPr/>
          </p:nvSpPr>
          <p:spPr bwMode="auto">
            <a:xfrm>
              <a:off x="1149193" y="5182389"/>
              <a:ext cx="1032490" cy="953660"/>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33" name="Freeform 49"/>
            <p:cNvSpPr>
              <a:spLocks noChangeArrowheads="1"/>
            </p:cNvSpPr>
            <p:nvPr/>
          </p:nvSpPr>
          <p:spPr bwMode="auto">
            <a:xfrm>
              <a:off x="2474536" y="2527904"/>
              <a:ext cx="983683" cy="953660"/>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34" name="Freeform 50"/>
            <p:cNvSpPr>
              <a:spLocks noChangeArrowheads="1"/>
            </p:cNvSpPr>
            <p:nvPr/>
          </p:nvSpPr>
          <p:spPr bwMode="auto">
            <a:xfrm>
              <a:off x="495906" y="4502809"/>
              <a:ext cx="957402" cy="983698"/>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35" name="Freeform 51"/>
            <p:cNvSpPr>
              <a:spLocks noChangeArrowheads="1"/>
            </p:cNvSpPr>
            <p:nvPr/>
          </p:nvSpPr>
          <p:spPr bwMode="auto">
            <a:xfrm>
              <a:off x="1149193" y="2527904"/>
              <a:ext cx="1036248" cy="953660"/>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36" name="Freeform 52"/>
            <p:cNvSpPr>
              <a:spLocks noChangeArrowheads="1"/>
            </p:cNvSpPr>
            <p:nvPr/>
          </p:nvSpPr>
          <p:spPr bwMode="auto">
            <a:xfrm>
              <a:off x="2474536" y="5182389"/>
              <a:ext cx="983683" cy="953660"/>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37" name="Freeform 53"/>
            <p:cNvSpPr>
              <a:spLocks noChangeArrowheads="1"/>
            </p:cNvSpPr>
            <p:nvPr/>
          </p:nvSpPr>
          <p:spPr bwMode="auto">
            <a:xfrm>
              <a:off x="3154106" y="3177443"/>
              <a:ext cx="953646" cy="1036263"/>
            </a:xfrm>
            <a:custGeom>
              <a:avLst/>
              <a:gdLst>
                <a:gd name="T0" fmla="*/ 817441 w 1122"/>
                <a:gd name="T1" fmla="*/ 662205 h 1215"/>
                <a:gd name="T2" fmla="*/ 817441 w 1122"/>
                <a:gd name="T3" fmla="*/ 662205 h 1215"/>
                <a:gd name="T4" fmla="*/ 452108 w 1122"/>
                <a:gd name="T5" fmla="*/ 662205 h 1215"/>
                <a:gd name="T6" fmla="*/ 350748 w 1122"/>
                <a:gd name="T7" fmla="*/ 409030 h 1215"/>
                <a:gd name="T8" fmla="*/ 597950 w 1122"/>
                <a:gd name="T9" fmla="*/ 159514 h 1215"/>
                <a:gd name="T10" fmla="*/ 438982 w 1122"/>
                <a:gd name="T11" fmla="*/ 0 h 1215"/>
                <a:gd name="T12" fmla="*/ 0 w 1122"/>
                <a:gd name="T13" fmla="*/ 440494 h 1215"/>
                <a:gd name="T14" fmla="*/ 177926 w 1122"/>
                <a:gd name="T15" fmla="*/ 888305 h 1215"/>
                <a:gd name="T16" fmla="*/ 817441 w 1122"/>
                <a:gd name="T17" fmla="*/ 888305 h 1215"/>
                <a:gd name="T18" fmla="*/ 817441 w 1122"/>
                <a:gd name="T19" fmla="*/ 662205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38" name="Freeform 54"/>
            <p:cNvSpPr>
              <a:spLocks noChangeArrowheads="1"/>
            </p:cNvSpPr>
            <p:nvPr/>
          </p:nvSpPr>
          <p:spPr bwMode="auto">
            <a:xfrm>
              <a:off x="495906" y="3177443"/>
              <a:ext cx="957402" cy="1036263"/>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39" name="Freeform 55"/>
            <p:cNvSpPr>
              <a:spLocks noChangeArrowheads="1"/>
            </p:cNvSpPr>
            <p:nvPr/>
          </p:nvSpPr>
          <p:spPr bwMode="auto">
            <a:xfrm>
              <a:off x="3154106" y="4502809"/>
              <a:ext cx="953646" cy="983698"/>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grpSp>
      <p:sp>
        <p:nvSpPr>
          <p:cNvPr id="23" name="Title Placeholder 1"/>
          <p:cNvSpPr>
            <a:spLocks noGrp="1"/>
          </p:cNvSpPr>
          <p:nvPr userDrawn="1">
            <p:ph type="title"/>
          </p:nvPr>
        </p:nvSpPr>
        <p:spPr>
          <a:xfrm>
            <a:off x="2095071" y="654940"/>
            <a:ext cx="6456262" cy="563209"/>
          </a:xfrm>
          <a:prstGeom prst="rect">
            <a:avLst/>
          </a:prstGeom>
        </p:spPr>
        <p:txBody>
          <a:bodyPr vert="horz" wrap="square" lIns="0" tIns="0" rIns="0" bIns="0" rtlCol="0" anchor="b" anchorCtr="0">
            <a:noAutofit/>
          </a:bodyPr>
          <a:lstStyle>
            <a:lvl1pPr algn="l">
              <a:defRPr sz="2200" baseline="0">
                <a:solidFill>
                  <a:schemeClr val="tx1"/>
                </a:solidFill>
              </a:defRPr>
            </a:lvl1pPr>
          </a:lstStyle>
          <a:p>
            <a:r>
              <a:rPr lang="en-US" dirty="0" smtClean="0"/>
              <a:t>Click to edit Master title style</a:t>
            </a:r>
            <a:endParaRPr lang="en-US" dirty="0"/>
          </a:p>
        </p:txBody>
      </p:sp>
      <p:sp>
        <p:nvSpPr>
          <p:cNvPr id="24" name="Text Placeholder 2"/>
          <p:cNvSpPr>
            <a:spLocks noGrp="1"/>
          </p:cNvSpPr>
          <p:nvPr userDrawn="1">
            <p:ph idx="1"/>
          </p:nvPr>
        </p:nvSpPr>
        <p:spPr>
          <a:xfrm>
            <a:off x="2095071" y="1450466"/>
            <a:ext cx="6456262" cy="3046041"/>
          </a:xfrm>
          <a:prstGeom prst="rect">
            <a:avLst/>
          </a:prstGeom>
        </p:spPr>
        <p:txBody>
          <a:bodyPr vert="horz" lIns="0" tIns="0" rIns="0" bIns="0" rtlCol="0">
            <a:normAutofit/>
          </a:bodyPr>
          <a:lstStyle>
            <a:lvl1pPr marL="233257" indent="-233257">
              <a:lnSpc>
                <a:spcPct val="100000"/>
              </a:lnSpc>
              <a:buClr>
                <a:schemeClr val="accent3"/>
              </a:buClr>
              <a:defRPr sz="1800">
                <a:solidFill>
                  <a:schemeClr val="tx1"/>
                </a:solidFill>
              </a:defRPr>
            </a:lvl1pPr>
            <a:lvl2pPr marL="455405" indent="-222150">
              <a:lnSpc>
                <a:spcPct val="100000"/>
              </a:lnSpc>
              <a:buClr>
                <a:schemeClr val="bg1"/>
              </a:buClr>
              <a:defRPr sz="1800">
                <a:solidFill>
                  <a:schemeClr val="tx1"/>
                </a:solidFill>
              </a:defRPr>
            </a:lvl2pPr>
            <a:lvl3pPr marL="687076" indent="-231671">
              <a:lnSpc>
                <a:spcPct val="100000"/>
              </a:lnSpc>
              <a:buClr>
                <a:schemeClr val="bg1"/>
              </a:buClr>
              <a:defRPr sz="1800">
                <a:solidFill>
                  <a:schemeClr val="tx1"/>
                </a:solidFill>
              </a:defRPr>
            </a:lvl3pPr>
            <a:lvl4pPr marL="909222" indent="-222150">
              <a:lnSpc>
                <a:spcPct val="100000"/>
              </a:lnSpc>
              <a:buClr>
                <a:schemeClr val="bg1"/>
              </a:buClr>
              <a:defRPr sz="1800">
                <a:solidFill>
                  <a:schemeClr val="tx1"/>
                </a:solidFill>
              </a:defRPr>
            </a:lvl4pPr>
            <a:lvl5pPr marL="1142480" indent="-233257">
              <a:lnSpc>
                <a:spcPct val="100000"/>
              </a:lnSpc>
              <a:buClr>
                <a:schemeClr val="bg1"/>
              </a:buClr>
              <a:buFont typeface="Arial"/>
              <a:buChar cha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4964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31" name="Title Placeholder 1"/>
          <p:cNvSpPr>
            <a:spLocks noGrp="1"/>
          </p:cNvSpPr>
          <p:nvPr>
            <p:ph type="title"/>
          </p:nvPr>
        </p:nvSpPr>
        <p:spPr>
          <a:xfrm>
            <a:off x="347472" y="347476"/>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tx1"/>
                </a:solidFill>
              </a:defRPr>
            </a:lvl1pPr>
          </a:lstStyle>
          <a:p>
            <a:r>
              <a:rPr lang="en-US" dirty="0" smtClean="0"/>
              <a:t>Click to edit Master title style</a:t>
            </a:r>
            <a:endParaRPr lang="en-US" dirty="0"/>
          </a:p>
        </p:txBody>
      </p:sp>
      <p:sp>
        <p:nvSpPr>
          <p:cNvPr id="32" name="Text Placeholder 2"/>
          <p:cNvSpPr>
            <a:spLocks noGrp="1"/>
          </p:cNvSpPr>
          <p:nvPr>
            <p:ph idx="1"/>
          </p:nvPr>
        </p:nvSpPr>
        <p:spPr>
          <a:xfrm>
            <a:off x="347472" y="1143000"/>
            <a:ext cx="8494776" cy="1594556"/>
          </a:xfrm>
          <a:prstGeom prst="rect">
            <a:avLst/>
          </a:prstGeom>
        </p:spPr>
        <p:txBody>
          <a:bodyPr vert="horz" lIns="0" tIns="0" rIns="0" bIns="0" rtlCol="0">
            <a:normAutofit/>
          </a:bodyPr>
          <a:lstStyle>
            <a:lvl1pPr marL="233257" indent="-233257">
              <a:lnSpc>
                <a:spcPts val="2000"/>
              </a:lnSpc>
              <a:buClr>
                <a:schemeClr val="accent1"/>
              </a:buClr>
              <a:defRPr sz="1800">
                <a:solidFill>
                  <a:schemeClr val="tx1"/>
                </a:solidFill>
              </a:defRPr>
            </a:lvl1pPr>
            <a:lvl2pPr marL="453820" indent="-220563">
              <a:lnSpc>
                <a:spcPts val="2000"/>
              </a:lnSpc>
              <a:buClr>
                <a:schemeClr val="accent2"/>
              </a:buClr>
              <a:defRPr sz="1800">
                <a:solidFill>
                  <a:schemeClr val="tx1"/>
                </a:solidFill>
              </a:defRPr>
            </a:lvl2pPr>
            <a:lvl3pPr marL="687076" indent="-233257">
              <a:lnSpc>
                <a:spcPts val="2000"/>
              </a:lnSpc>
              <a:buClr>
                <a:schemeClr val="accent2"/>
              </a:buClr>
              <a:defRPr sz="1800">
                <a:solidFill>
                  <a:schemeClr val="tx1"/>
                </a:solidFill>
              </a:defRPr>
            </a:lvl3pPr>
            <a:lvl4pPr marL="907636" indent="-220563">
              <a:lnSpc>
                <a:spcPts val="2000"/>
              </a:lnSpc>
              <a:buClr>
                <a:schemeClr val="accent2"/>
              </a:buClr>
              <a:defRPr sz="1800">
                <a:solidFill>
                  <a:schemeClr val="tx1"/>
                </a:solidFill>
              </a:defRPr>
            </a:lvl4pPr>
            <a:lvl5pPr marL="1193258" indent="-285619">
              <a:lnSpc>
                <a:spcPts val="2000"/>
              </a:lnSpc>
              <a:buClr>
                <a:schemeClr val="accent2"/>
              </a:buClr>
              <a:buFont typeface="Arial"/>
              <a:buChar cha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347472" y="2977188"/>
            <a:ext cx="1636776" cy="16367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0" name="Rectangle 9"/>
          <p:cNvSpPr/>
          <p:nvPr userDrawn="1"/>
        </p:nvSpPr>
        <p:spPr>
          <a:xfrm>
            <a:off x="2064258" y="2977188"/>
            <a:ext cx="1636776" cy="16367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5" name="Rectangle 14"/>
          <p:cNvSpPr/>
          <p:nvPr userDrawn="1"/>
        </p:nvSpPr>
        <p:spPr>
          <a:xfrm>
            <a:off x="3781044" y="2977188"/>
            <a:ext cx="1636776" cy="16367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6" name="Rectangle 15"/>
          <p:cNvSpPr/>
          <p:nvPr userDrawn="1"/>
        </p:nvSpPr>
        <p:spPr>
          <a:xfrm>
            <a:off x="5497830" y="2977188"/>
            <a:ext cx="1636776" cy="1636776"/>
          </a:xfrm>
          <a:prstGeom prst="rect">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7" name="Rectangle 16"/>
          <p:cNvSpPr/>
          <p:nvPr userDrawn="1"/>
        </p:nvSpPr>
        <p:spPr>
          <a:xfrm>
            <a:off x="7214616" y="2977188"/>
            <a:ext cx="1636776" cy="163677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Tree>
    <p:extLst>
      <p:ext uri="{BB962C8B-B14F-4D97-AF65-F5344CB8AC3E}">
        <p14:creationId xmlns:p14="http://schemas.microsoft.com/office/powerpoint/2010/main" val="214492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31" name="Title Placeholder 1"/>
          <p:cNvSpPr>
            <a:spLocks noGrp="1"/>
          </p:cNvSpPr>
          <p:nvPr>
            <p:ph type="title"/>
          </p:nvPr>
        </p:nvSpPr>
        <p:spPr>
          <a:xfrm>
            <a:off x="347472" y="347476"/>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tx1"/>
                </a:solidFill>
              </a:defRPr>
            </a:lvl1pPr>
          </a:lstStyle>
          <a:p>
            <a:r>
              <a:rPr lang="en-US" dirty="0" smtClean="0"/>
              <a:t>Click to edit Master title style</a:t>
            </a:r>
            <a:endParaRPr lang="en-US" dirty="0"/>
          </a:p>
        </p:txBody>
      </p:sp>
      <p:sp>
        <p:nvSpPr>
          <p:cNvPr id="32" name="Text Placeholder 2"/>
          <p:cNvSpPr>
            <a:spLocks noGrp="1"/>
          </p:cNvSpPr>
          <p:nvPr>
            <p:ph idx="1"/>
          </p:nvPr>
        </p:nvSpPr>
        <p:spPr>
          <a:xfrm>
            <a:off x="347472" y="1143000"/>
            <a:ext cx="8494776" cy="1594556"/>
          </a:xfrm>
          <a:prstGeom prst="rect">
            <a:avLst/>
          </a:prstGeom>
        </p:spPr>
        <p:txBody>
          <a:bodyPr vert="horz" lIns="0" tIns="0" rIns="0" bIns="0" rtlCol="0">
            <a:normAutofit/>
          </a:bodyPr>
          <a:lstStyle>
            <a:lvl1pPr marL="233257" indent="-233257">
              <a:lnSpc>
                <a:spcPts val="2000"/>
              </a:lnSpc>
              <a:buClr>
                <a:schemeClr val="accent1"/>
              </a:buClr>
              <a:defRPr sz="1800">
                <a:solidFill>
                  <a:schemeClr val="tx1"/>
                </a:solidFill>
              </a:defRPr>
            </a:lvl1pPr>
            <a:lvl2pPr marL="453820" indent="-220563">
              <a:lnSpc>
                <a:spcPts val="2000"/>
              </a:lnSpc>
              <a:buClr>
                <a:schemeClr val="accent2"/>
              </a:buClr>
              <a:defRPr sz="1800">
                <a:solidFill>
                  <a:schemeClr val="tx1"/>
                </a:solidFill>
              </a:defRPr>
            </a:lvl2pPr>
            <a:lvl3pPr marL="687076" indent="-233257">
              <a:lnSpc>
                <a:spcPts val="2000"/>
              </a:lnSpc>
              <a:buClr>
                <a:schemeClr val="accent2"/>
              </a:buClr>
              <a:defRPr sz="1800">
                <a:solidFill>
                  <a:schemeClr val="tx1"/>
                </a:solidFill>
              </a:defRPr>
            </a:lvl3pPr>
            <a:lvl4pPr marL="907636" indent="-220563">
              <a:lnSpc>
                <a:spcPts val="2000"/>
              </a:lnSpc>
              <a:buClr>
                <a:schemeClr val="accent2"/>
              </a:buClr>
              <a:defRPr sz="1800">
                <a:solidFill>
                  <a:schemeClr val="tx1"/>
                </a:solidFill>
              </a:defRPr>
            </a:lvl4pPr>
            <a:lvl5pPr marL="1193258" indent="-285619">
              <a:lnSpc>
                <a:spcPts val="2000"/>
              </a:lnSpc>
              <a:buClr>
                <a:schemeClr val="accent2"/>
              </a:buClr>
              <a:buFont typeface="Arial"/>
              <a:buChar cha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347472" y="2977188"/>
            <a:ext cx="1636776" cy="16367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0" name="Rectangle 9"/>
          <p:cNvSpPr/>
          <p:nvPr userDrawn="1"/>
        </p:nvSpPr>
        <p:spPr>
          <a:xfrm>
            <a:off x="2064258" y="2977188"/>
            <a:ext cx="1636776" cy="16367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5" name="Rectangle 14"/>
          <p:cNvSpPr/>
          <p:nvPr userDrawn="1"/>
        </p:nvSpPr>
        <p:spPr>
          <a:xfrm>
            <a:off x="3781044" y="2977188"/>
            <a:ext cx="1636776" cy="16367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6" name="Rectangle 15"/>
          <p:cNvSpPr/>
          <p:nvPr userDrawn="1"/>
        </p:nvSpPr>
        <p:spPr>
          <a:xfrm>
            <a:off x="5497830" y="2977188"/>
            <a:ext cx="1636776" cy="1636776"/>
          </a:xfrm>
          <a:prstGeom prst="rect">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7" name="Rectangle 16"/>
          <p:cNvSpPr/>
          <p:nvPr userDrawn="1"/>
        </p:nvSpPr>
        <p:spPr>
          <a:xfrm>
            <a:off x="7214616" y="2977188"/>
            <a:ext cx="1636776" cy="163677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Tree>
    <p:extLst>
      <p:ext uri="{BB962C8B-B14F-4D97-AF65-F5344CB8AC3E}">
        <p14:creationId xmlns:p14="http://schemas.microsoft.com/office/powerpoint/2010/main" val="456886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31" name="Title Placeholder 1"/>
          <p:cNvSpPr>
            <a:spLocks noGrp="1"/>
          </p:cNvSpPr>
          <p:nvPr>
            <p:ph type="title"/>
          </p:nvPr>
        </p:nvSpPr>
        <p:spPr>
          <a:xfrm>
            <a:off x="347472" y="347476"/>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tx1"/>
                </a:solidFill>
              </a:defRPr>
            </a:lvl1pPr>
          </a:lstStyle>
          <a:p>
            <a:r>
              <a:rPr lang="en-US" dirty="0" smtClean="0"/>
              <a:t>Click to edit Master title style</a:t>
            </a:r>
            <a:endParaRPr lang="en-US" dirty="0"/>
          </a:p>
        </p:txBody>
      </p:sp>
      <p:sp>
        <p:nvSpPr>
          <p:cNvPr id="32" name="Text Placeholder 2"/>
          <p:cNvSpPr>
            <a:spLocks noGrp="1"/>
          </p:cNvSpPr>
          <p:nvPr>
            <p:ph idx="1"/>
          </p:nvPr>
        </p:nvSpPr>
        <p:spPr>
          <a:xfrm>
            <a:off x="347472" y="1143000"/>
            <a:ext cx="8494776" cy="1594556"/>
          </a:xfrm>
          <a:prstGeom prst="rect">
            <a:avLst/>
          </a:prstGeom>
        </p:spPr>
        <p:txBody>
          <a:bodyPr vert="horz" lIns="0" tIns="0" rIns="0" bIns="0" rtlCol="0">
            <a:normAutofit/>
          </a:bodyPr>
          <a:lstStyle>
            <a:lvl1pPr marL="233257" indent="-233257">
              <a:lnSpc>
                <a:spcPts val="2000"/>
              </a:lnSpc>
              <a:buClr>
                <a:schemeClr val="accent1"/>
              </a:buClr>
              <a:defRPr sz="1800">
                <a:solidFill>
                  <a:schemeClr val="tx1"/>
                </a:solidFill>
              </a:defRPr>
            </a:lvl1pPr>
            <a:lvl2pPr marL="453820" indent="-220563">
              <a:lnSpc>
                <a:spcPts val="2000"/>
              </a:lnSpc>
              <a:buClr>
                <a:schemeClr val="accent2"/>
              </a:buClr>
              <a:defRPr sz="1800">
                <a:solidFill>
                  <a:schemeClr val="tx1"/>
                </a:solidFill>
              </a:defRPr>
            </a:lvl2pPr>
            <a:lvl3pPr marL="687076" indent="-233257">
              <a:lnSpc>
                <a:spcPts val="2000"/>
              </a:lnSpc>
              <a:buClr>
                <a:schemeClr val="accent2"/>
              </a:buClr>
              <a:defRPr sz="1800">
                <a:solidFill>
                  <a:schemeClr val="tx1"/>
                </a:solidFill>
              </a:defRPr>
            </a:lvl3pPr>
            <a:lvl4pPr marL="907636" indent="-220563">
              <a:lnSpc>
                <a:spcPts val="2000"/>
              </a:lnSpc>
              <a:buClr>
                <a:schemeClr val="accent2"/>
              </a:buClr>
              <a:defRPr sz="1800">
                <a:solidFill>
                  <a:schemeClr val="tx1"/>
                </a:solidFill>
              </a:defRPr>
            </a:lvl4pPr>
            <a:lvl5pPr marL="1193258" indent="-285619">
              <a:lnSpc>
                <a:spcPts val="2000"/>
              </a:lnSpc>
              <a:buClr>
                <a:schemeClr val="accent2"/>
              </a:buClr>
              <a:buFont typeface="Arial"/>
              <a:buChar cha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347472" y="2977188"/>
            <a:ext cx="1636776" cy="16367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0" name="Rectangle 9"/>
          <p:cNvSpPr/>
          <p:nvPr userDrawn="1"/>
        </p:nvSpPr>
        <p:spPr>
          <a:xfrm>
            <a:off x="2064258" y="2977188"/>
            <a:ext cx="1636776" cy="16367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5" name="Rectangle 14"/>
          <p:cNvSpPr/>
          <p:nvPr userDrawn="1"/>
        </p:nvSpPr>
        <p:spPr>
          <a:xfrm>
            <a:off x="3781044" y="2977188"/>
            <a:ext cx="1636776" cy="16367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6" name="Rectangle 15"/>
          <p:cNvSpPr/>
          <p:nvPr userDrawn="1"/>
        </p:nvSpPr>
        <p:spPr>
          <a:xfrm>
            <a:off x="5497830" y="2977188"/>
            <a:ext cx="1636776" cy="1636776"/>
          </a:xfrm>
          <a:prstGeom prst="rect">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7" name="Rectangle 16"/>
          <p:cNvSpPr/>
          <p:nvPr userDrawn="1"/>
        </p:nvSpPr>
        <p:spPr>
          <a:xfrm>
            <a:off x="7214616" y="2977188"/>
            <a:ext cx="1636776" cy="163677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Tree>
    <p:extLst>
      <p:ext uri="{BB962C8B-B14F-4D97-AF65-F5344CB8AC3E}">
        <p14:creationId xmlns:p14="http://schemas.microsoft.com/office/powerpoint/2010/main" val="1909694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31" name="Title Placeholder 1"/>
          <p:cNvSpPr>
            <a:spLocks noGrp="1"/>
          </p:cNvSpPr>
          <p:nvPr>
            <p:ph type="title"/>
          </p:nvPr>
        </p:nvSpPr>
        <p:spPr>
          <a:xfrm>
            <a:off x="347472" y="347476"/>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tx1"/>
                </a:solidFill>
              </a:defRPr>
            </a:lvl1pPr>
          </a:lstStyle>
          <a:p>
            <a:r>
              <a:rPr lang="en-US" dirty="0" smtClean="0"/>
              <a:t>Click to edit Master title style</a:t>
            </a:r>
            <a:endParaRPr lang="en-US" dirty="0"/>
          </a:p>
        </p:txBody>
      </p:sp>
      <p:sp>
        <p:nvSpPr>
          <p:cNvPr id="32" name="Text Placeholder 2"/>
          <p:cNvSpPr>
            <a:spLocks noGrp="1"/>
          </p:cNvSpPr>
          <p:nvPr>
            <p:ph idx="1"/>
          </p:nvPr>
        </p:nvSpPr>
        <p:spPr>
          <a:xfrm>
            <a:off x="347472" y="1143000"/>
            <a:ext cx="8494776" cy="1594556"/>
          </a:xfrm>
          <a:prstGeom prst="rect">
            <a:avLst/>
          </a:prstGeom>
        </p:spPr>
        <p:txBody>
          <a:bodyPr vert="horz" lIns="0" tIns="0" rIns="0" bIns="0" rtlCol="0">
            <a:normAutofit/>
          </a:bodyPr>
          <a:lstStyle>
            <a:lvl1pPr marL="233257" indent="-233257">
              <a:lnSpc>
                <a:spcPts val="2000"/>
              </a:lnSpc>
              <a:buClr>
                <a:schemeClr val="accent1"/>
              </a:buClr>
              <a:defRPr sz="1800">
                <a:solidFill>
                  <a:schemeClr val="tx1"/>
                </a:solidFill>
              </a:defRPr>
            </a:lvl1pPr>
            <a:lvl2pPr marL="453820" indent="-220563">
              <a:lnSpc>
                <a:spcPts val="2000"/>
              </a:lnSpc>
              <a:buClr>
                <a:schemeClr val="accent2"/>
              </a:buClr>
              <a:defRPr sz="1800">
                <a:solidFill>
                  <a:schemeClr val="tx1"/>
                </a:solidFill>
              </a:defRPr>
            </a:lvl2pPr>
            <a:lvl3pPr marL="687076" indent="-233257">
              <a:lnSpc>
                <a:spcPts val="2000"/>
              </a:lnSpc>
              <a:buClr>
                <a:schemeClr val="accent2"/>
              </a:buClr>
              <a:defRPr sz="1800">
                <a:solidFill>
                  <a:schemeClr val="tx1"/>
                </a:solidFill>
              </a:defRPr>
            </a:lvl3pPr>
            <a:lvl4pPr marL="907636" indent="-220563">
              <a:lnSpc>
                <a:spcPts val="2000"/>
              </a:lnSpc>
              <a:buClr>
                <a:schemeClr val="accent2"/>
              </a:buClr>
              <a:defRPr sz="1800">
                <a:solidFill>
                  <a:schemeClr val="tx1"/>
                </a:solidFill>
              </a:defRPr>
            </a:lvl4pPr>
            <a:lvl5pPr marL="1193258" indent="-285619">
              <a:lnSpc>
                <a:spcPts val="2000"/>
              </a:lnSpc>
              <a:buClr>
                <a:schemeClr val="accent2"/>
              </a:buClr>
              <a:buFont typeface="Arial"/>
              <a:buChar cha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347472" y="2977188"/>
            <a:ext cx="1636776" cy="16367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0" name="Rectangle 9"/>
          <p:cNvSpPr/>
          <p:nvPr userDrawn="1"/>
        </p:nvSpPr>
        <p:spPr>
          <a:xfrm>
            <a:off x="2064258" y="2977188"/>
            <a:ext cx="1636776" cy="16367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5" name="Rectangle 14"/>
          <p:cNvSpPr/>
          <p:nvPr userDrawn="1"/>
        </p:nvSpPr>
        <p:spPr>
          <a:xfrm>
            <a:off x="3781044" y="2977188"/>
            <a:ext cx="1636776" cy="16367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6" name="Rectangle 15"/>
          <p:cNvSpPr/>
          <p:nvPr userDrawn="1"/>
        </p:nvSpPr>
        <p:spPr>
          <a:xfrm>
            <a:off x="5497830" y="2977188"/>
            <a:ext cx="1636776" cy="1636776"/>
          </a:xfrm>
          <a:prstGeom prst="rect">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7" name="Rectangle 16"/>
          <p:cNvSpPr/>
          <p:nvPr userDrawn="1"/>
        </p:nvSpPr>
        <p:spPr>
          <a:xfrm>
            <a:off x="7214616" y="2977188"/>
            <a:ext cx="1636776" cy="163677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Tree>
    <p:extLst>
      <p:ext uri="{BB962C8B-B14F-4D97-AF65-F5344CB8AC3E}">
        <p14:creationId xmlns:p14="http://schemas.microsoft.com/office/powerpoint/2010/main" val="220468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31" name="Title Placeholder 1"/>
          <p:cNvSpPr>
            <a:spLocks noGrp="1"/>
          </p:cNvSpPr>
          <p:nvPr>
            <p:ph type="title"/>
          </p:nvPr>
        </p:nvSpPr>
        <p:spPr>
          <a:xfrm>
            <a:off x="347472" y="347476"/>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tx1"/>
                </a:solidFill>
              </a:defRPr>
            </a:lvl1pPr>
          </a:lstStyle>
          <a:p>
            <a:r>
              <a:rPr lang="en-US" dirty="0" smtClean="0"/>
              <a:t>Click to edit Master title style</a:t>
            </a:r>
            <a:endParaRPr lang="en-US" dirty="0"/>
          </a:p>
        </p:txBody>
      </p:sp>
      <p:sp>
        <p:nvSpPr>
          <p:cNvPr id="32" name="Text Placeholder 2"/>
          <p:cNvSpPr>
            <a:spLocks noGrp="1"/>
          </p:cNvSpPr>
          <p:nvPr>
            <p:ph idx="1"/>
          </p:nvPr>
        </p:nvSpPr>
        <p:spPr>
          <a:xfrm>
            <a:off x="347472" y="1143000"/>
            <a:ext cx="8494776" cy="1594556"/>
          </a:xfrm>
          <a:prstGeom prst="rect">
            <a:avLst/>
          </a:prstGeom>
        </p:spPr>
        <p:txBody>
          <a:bodyPr vert="horz" lIns="0" tIns="0" rIns="0" bIns="0" rtlCol="0">
            <a:normAutofit/>
          </a:bodyPr>
          <a:lstStyle>
            <a:lvl1pPr marL="233257" indent="-233257">
              <a:lnSpc>
                <a:spcPts val="2000"/>
              </a:lnSpc>
              <a:buClr>
                <a:schemeClr val="accent1"/>
              </a:buClr>
              <a:defRPr sz="1800">
                <a:solidFill>
                  <a:schemeClr val="tx1"/>
                </a:solidFill>
              </a:defRPr>
            </a:lvl1pPr>
            <a:lvl2pPr marL="453820" indent="-220563">
              <a:lnSpc>
                <a:spcPts val="2000"/>
              </a:lnSpc>
              <a:buClr>
                <a:schemeClr val="accent2"/>
              </a:buClr>
              <a:defRPr sz="1800">
                <a:solidFill>
                  <a:schemeClr val="tx1"/>
                </a:solidFill>
              </a:defRPr>
            </a:lvl2pPr>
            <a:lvl3pPr marL="687076" indent="-233257">
              <a:lnSpc>
                <a:spcPts val="2000"/>
              </a:lnSpc>
              <a:buClr>
                <a:schemeClr val="accent2"/>
              </a:buClr>
              <a:defRPr sz="1800">
                <a:solidFill>
                  <a:schemeClr val="tx1"/>
                </a:solidFill>
              </a:defRPr>
            </a:lvl3pPr>
            <a:lvl4pPr marL="907636" indent="-220563">
              <a:lnSpc>
                <a:spcPts val="2000"/>
              </a:lnSpc>
              <a:buClr>
                <a:schemeClr val="accent2"/>
              </a:buClr>
              <a:defRPr sz="1800">
                <a:solidFill>
                  <a:schemeClr val="tx1"/>
                </a:solidFill>
              </a:defRPr>
            </a:lvl4pPr>
            <a:lvl5pPr marL="1193258" indent="-285619">
              <a:lnSpc>
                <a:spcPts val="2000"/>
              </a:lnSpc>
              <a:buClr>
                <a:schemeClr val="accent2"/>
              </a:buClr>
              <a:buFont typeface="Arial"/>
              <a:buChar cha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347472" y="2977188"/>
            <a:ext cx="1636776" cy="16367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0" name="Rectangle 9"/>
          <p:cNvSpPr/>
          <p:nvPr userDrawn="1"/>
        </p:nvSpPr>
        <p:spPr>
          <a:xfrm>
            <a:off x="2064258" y="2977188"/>
            <a:ext cx="1636776" cy="16367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5" name="Rectangle 14"/>
          <p:cNvSpPr/>
          <p:nvPr userDrawn="1"/>
        </p:nvSpPr>
        <p:spPr>
          <a:xfrm>
            <a:off x="3781044" y="2977188"/>
            <a:ext cx="1636776" cy="16367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6" name="Rectangle 15"/>
          <p:cNvSpPr/>
          <p:nvPr userDrawn="1"/>
        </p:nvSpPr>
        <p:spPr>
          <a:xfrm>
            <a:off x="5497830" y="2977188"/>
            <a:ext cx="1636776" cy="1636776"/>
          </a:xfrm>
          <a:prstGeom prst="rect">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
        <p:nvSpPr>
          <p:cNvPr id="17" name="Rectangle 16"/>
          <p:cNvSpPr/>
          <p:nvPr userDrawn="1"/>
        </p:nvSpPr>
        <p:spPr>
          <a:xfrm>
            <a:off x="7214616" y="2977188"/>
            <a:ext cx="1636776" cy="163677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99" tIns="45698" rIns="91399" bIns="45698" rtlCol="0" anchor="ctr"/>
          <a:lstStyle/>
          <a:p>
            <a:pPr algn="ctr"/>
            <a:endParaRPr lang="en-US">
              <a:solidFill>
                <a:prstClr val="white"/>
              </a:solidFill>
            </a:endParaRPr>
          </a:p>
        </p:txBody>
      </p:sp>
    </p:spTree>
    <p:extLst>
      <p:ext uri="{BB962C8B-B14F-4D97-AF65-F5344CB8AC3E}">
        <p14:creationId xmlns:p14="http://schemas.microsoft.com/office/powerpoint/2010/main" val="270642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1" name="Title Placeholder 1"/>
          <p:cNvSpPr>
            <a:spLocks noGrp="1"/>
          </p:cNvSpPr>
          <p:nvPr>
            <p:ph type="title"/>
          </p:nvPr>
        </p:nvSpPr>
        <p:spPr>
          <a:xfrm>
            <a:off x="347472" y="347472"/>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accent5"/>
                </a:solidFill>
              </a:defRPr>
            </a:lvl1pPr>
          </a:lstStyle>
          <a:p>
            <a:r>
              <a:rPr lang="en-US" dirty="0" smtClean="0"/>
              <a:t>Click to edit Master title style</a:t>
            </a:r>
            <a:endParaRPr lang="en-US" dirty="0"/>
          </a:p>
        </p:txBody>
      </p:sp>
      <p:sp>
        <p:nvSpPr>
          <p:cNvPr id="32" name="Text Placeholder 2"/>
          <p:cNvSpPr>
            <a:spLocks noGrp="1"/>
          </p:cNvSpPr>
          <p:nvPr>
            <p:ph idx="1"/>
          </p:nvPr>
        </p:nvSpPr>
        <p:spPr>
          <a:xfrm>
            <a:off x="347472" y="1143000"/>
            <a:ext cx="8494776" cy="1594556"/>
          </a:xfrm>
          <a:prstGeom prst="rect">
            <a:avLst/>
          </a:prstGeom>
        </p:spPr>
        <p:txBody>
          <a:bodyPr vert="horz" lIns="0" tIns="0" rIns="0" bIns="0" rtlCol="0">
            <a:normAutofit/>
          </a:bodyPr>
          <a:lstStyle>
            <a:lvl1pPr marL="233363" indent="-233363">
              <a:lnSpc>
                <a:spcPts val="2000"/>
              </a:lnSpc>
              <a:buClr>
                <a:schemeClr val="accent1"/>
              </a:buClr>
              <a:defRPr sz="1800">
                <a:solidFill>
                  <a:srgbClr val="747678"/>
                </a:solidFill>
              </a:defRPr>
            </a:lvl1pPr>
            <a:lvl2pPr marL="454025" indent="-220663">
              <a:lnSpc>
                <a:spcPts val="2000"/>
              </a:lnSpc>
              <a:buClr>
                <a:schemeClr val="accent2"/>
              </a:buClr>
              <a:defRPr sz="1800">
                <a:solidFill>
                  <a:srgbClr val="747678"/>
                </a:solidFill>
              </a:defRPr>
            </a:lvl2pPr>
            <a:lvl3pPr marL="687388" indent="-233363">
              <a:lnSpc>
                <a:spcPts val="2000"/>
              </a:lnSpc>
              <a:buClr>
                <a:schemeClr val="accent2"/>
              </a:buClr>
              <a:defRPr sz="1800">
                <a:solidFill>
                  <a:srgbClr val="747678"/>
                </a:solidFill>
              </a:defRPr>
            </a:lvl3pPr>
            <a:lvl4pPr marL="908050" indent="-220663">
              <a:lnSpc>
                <a:spcPts val="2000"/>
              </a:lnSpc>
              <a:buClr>
                <a:schemeClr val="accent2"/>
              </a:buClr>
              <a:defRPr sz="1800">
                <a:solidFill>
                  <a:srgbClr val="747678"/>
                </a:solidFill>
              </a:defRPr>
            </a:lvl4pPr>
            <a:lvl5pPr marL="1193800" indent="-285750">
              <a:lnSpc>
                <a:spcPts val="2000"/>
              </a:lnSpc>
              <a:buClr>
                <a:schemeClr val="accent2"/>
              </a:buClr>
              <a:buFont typeface="Arial"/>
              <a:buChar char="•"/>
              <a:defRPr sz="1800">
                <a:solidFill>
                  <a:srgbClr val="747678"/>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347472" y="2977188"/>
            <a:ext cx="1636776" cy="163677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2064258" y="2977188"/>
            <a:ext cx="1636776" cy="16367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a:xfrm>
            <a:off x="3781044" y="2977188"/>
            <a:ext cx="1636776" cy="163677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a:xfrm>
            <a:off x="5497830" y="2977188"/>
            <a:ext cx="1636776" cy="1636776"/>
          </a:xfrm>
          <a:prstGeom prst="rect">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a:xfrm>
            <a:off x="7214616" y="2977188"/>
            <a:ext cx="1636776" cy="163677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917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0" name="Rectangle 39"/>
          <p:cNvSpPr/>
          <p:nvPr userDrawn="1"/>
        </p:nvSpPr>
        <p:spPr>
          <a:xfrm>
            <a:off x="1796139" y="343940"/>
            <a:ext cx="7019777" cy="42829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2" name="Picture 41" descr="SmBusinessUser6_iStock_000067394109_XXXLarge_PPT.jpg"/>
          <p:cNvPicPr>
            <a:picLocks noChangeAspect="1"/>
          </p:cNvPicPr>
          <p:nvPr userDrawn="1"/>
        </p:nvPicPr>
        <p:blipFill rotWithShape="1">
          <a:blip r:embed="rId2">
            <a:extLst>
              <a:ext uri="{28A0092B-C50C-407E-A947-70E740481C1C}">
                <a14:useLocalDpi xmlns:a14="http://schemas.microsoft.com/office/drawing/2010/main" val="0"/>
              </a:ext>
            </a:extLst>
          </a:blip>
          <a:srcRect l="27750" t="20779" r="45710" b="39380"/>
          <a:stretch/>
        </p:blipFill>
        <p:spPr>
          <a:xfrm>
            <a:off x="348932" y="3245937"/>
            <a:ext cx="1376687" cy="1376687"/>
          </a:xfrm>
          <a:prstGeom prst="rect">
            <a:avLst/>
          </a:prstGeom>
        </p:spPr>
      </p:pic>
      <p:sp>
        <p:nvSpPr>
          <p:cNvPr id="43" name="Rectangle 42"/>
          <p:cNvSpPr/>
          <p:nvPr userDrawn="1"/>
        </p:nvSpPr>
        <p:spPr>
          <a:xfrm>
            <a:off x="347473" y="3240903"/>
            <a:ext cx="1378145" cy="1381722"/>
          </a:xfrm>
          <a:prstGeom prst="rect">
            <a:avLst/>
          </a:prstGeom>
          <a:solidFill>
            <a:schemeClr val="accent4">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4" name="Picture 43" descr="TCH223_SmallBiz_169_300.jpg"/>
          <p:cNvPicPr>
            <a:picLocks noChangeAspect="1"/>
          </p:cNvPicPr>
          <p:nvPr userDrawn="1"/>
        </p:nvPicPr>
        <p:blipFill rotWithShape="1">
          <a:blip r:embed="rId3">
            <a:extLst>
              <a:ext uri="{28A0092B-C50C-407E-A947-70E740481C1C}">
                <a14:useLocalDpi xmlns:a14="http://schemas.microsoft.com/office/drawing/2010/main" val="0"/>
              </a:ext>
            </a:extLst>
          </a:blip>
          <a:srcRect l="44009" t="10109" r="15045" b="17149"/>
          <a:stretch/>
        </p:blipFill>
        <p:spPr>
          <a:xfrm>
            <a:off x="347473" y="1796003"/>
            <a:ext cx="1376687" cy="1376687"/>
          </a:xfrm>
          <a:prstGeom prst="rect">
            <a:avLst/>
          </a:prstGeom>
        </p:spPr>
      </p:pic>
      <p:pic>
        <p:nvPicPr>
          <p:cNvPr id="45" name="Picture 2"/>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7466" t="14427" r="23091" b="11948"/>
          <a:stretch/>
        </p:blipFill>
        <p:spPr bwMode="auto">
          <a:xfrm>
            <a:off x="348839" y="343941"/>
            <a:ext cx="1376780" cy="1380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6" name="Rectangle 45"/>
          <p:cNvSpPr/>
          <p:nvPr userDrawn="1"/>
        </p:nvSpPr>
        <p:spPr>
          <a:xfrm>
            <a:off x="347473" y="343941"/>
            <a:ext cx="1378145" cy="1381722"/>
          </a:xfrm>
          <a:prstGeom prst="rect">
            <a:avLst/>
          </a:prstGeom>
          <a:solidFill>
            <a:schemeClr val="accent3">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31" name="Group 30"/>
          <p:cNvGrpSpPr/>
          <p:nvPr userDrawn="1"/>
        </p:nvGrpSpPr>
        <p:grpSpPr>
          <a:xfrm>
            <a:off x="453890" y="1909700"/>
            <a:ext cx="2589458" cy="2586805"/>
            <a:chOff x="495906" y="2527904"/>
            <a:chExt cx="3611846" cy="3608145"/>
          </a:xfrm>
        </p:grpSpPr>
        <p:sp>
          <p:nvSpPr>
            <p:cNvPr id="32" name="Freeform 48"/>
            <p:cNvSpPr>
              <a:spLocks noChangeArrowheads="1"/>
            </p:cNvSpPr>
            <p:nvPr/>
          </p:nvSpPr>
          <p:spPr bwMode="auto">
            <a:xfrm>
              <a:off x="1149193" y="5182389"/>
              <a:ext cx="1032490" cy="953660"/>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3" name="Freeform 49"/>
            <p:cNvSpPr>
              <a:spLocks noChangeArrowheads="1"/>
            </p:cNvSpPr>
            <p:nvPr/>
          </p:nvSpPr>
          <p:spPr bwMode="auto">
            <a:xfrm>
              <a:off x="2474536" y="2527904"/>
              <a:ext cx="983683" cy="953660"/>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4" name="Freeform 50"/>
            <p:cNvSpPr>
              <a:spLocks noChangeArrowheads="1"/>
            </p:cNvSpPr>
            <p:nvPr/>
          </p:nvSpPr>
          <p:spPr bwMode="auto">
            <a:xfrm>
              <a:off x="495906" y="4502809"/>
              <a:ext cx="957402" cy="983698"/>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5" name="Freeform 51"/>
            <p:cNvSpPr>
              <a:spLocks noChangeArrowheads="1"/>
            </p:cNvSpPr>
            <p:nvPr/>
          </p:nvSpPr>
          <p:spPr bwMode="auto">
            <a:xfrm>
              <a:off x="1149193" y="2527904"/>
              <a:ext cx="1036248" cy="953660"/>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6" name="Freeform 52"/>
            <p:cNvSpPr>
              <a:spLocks noChangeArrowheads="1"/>
            </p:cNvSpPr>
            <p:nvPr/>
          </p:nvSpPr>
          <p:spPr bwMode="auto">
            <a:xfrm>
              <a:off x="2474536" y="5182389"/>
              <a:ext cx="983683" cy="953660"/>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7" name="Freeform 53"/>
            <p:cNvSpPr>
              <a:spLocks noChangeArrowheads="1"/>
            </p:cNvSpPr>
            <p:nvPr/>
          </p:nvSpPr>
          <p:spPr bwMode="auto">
            <a:xfrm>
              <a:off x="3154106" y="3177443"/>
              <a:ext cx="953646" cy="1036263"/>
            </a:xfrm>
            <a:custGeom>
              <a:avLst/>
              <a:gdLst>
                <a:gd name="T0" fmla="*/ 817441 w 1122"/>
                <a:gd name="T1" fmla="*/ 662205 h 1215"/>
                <a:gd name="T2" fmla="*/ 817441 w 1122"/>
                <a:gd name="T3" fmla="*/ 662205 h 1215"/>
                <a:gd name="T4" fmla="*/ 452108 w 1122"/>
                <a:gd name="T5" fmla="*/ 662205 h 1215"/>
                <a:gd name="T6" fmla="*/ 350748 w 1122"/>
                <a:gd name="T7" fmla="*/ 409030 h 1215"/>
                <a:gd name="T8" fmla="*/ 597950 w 1122"/>
                <a:gd name="T9" fmla="*/ 159514 h 1215"/>
                <a:gd name="T10" fmla="*/ 438982 w 1122"/>
                <a:gd name="T11" fmla="*/ 0 h 1215"/>
                <a:gd name="T12" fmla="*/ 0 w 1122"/>
                <a:gd name="T13" fmla="*/ 440494 h 1215"/>
                <a:gd name="T14" fmla="*/ 177926 w 1122"/>
                <a:gd name="T15" fmla="*/ 888305 h 1215"/>
                <a:gd name="T16" fmla="*/ 817441 w 1122"/>
                <a:gd name="T17" fmla="*/ 888305 h 1215"/>
                <a:gd name="T18" fmla="*/ 817441 w 1122"/>
                <a:gd name="T19" fmla="*/ 662205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8" name="Freeform 54"/>
            <p:cNvSpPr>
              <a:spLocks noChangeArrowheads="1"/>
            </p:cNvSpPr>
            <p:nvPr/>
          </p:nvSpPr>
          <p:spPr bwMode="auto">
            <a:xfrm>
              <a:off x="495906" y="3177443"/>
              <a:ext cx="957402" cy="1036263"/>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9" name="Freeform 55"/>
            <p:cNvSpPr>
              <a:spLocks noChangeArrowheads="1"/>
            </p:cNvSpPr>
            <p:nvPr/>
          </p:nvSpPr>
          <p:spPr bwMode="auto">
            <a:xfrm>
              <a:off x="3154106" y="4502809"/>
              <a:ext cx="953646" cy="983698"/>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grpSp>
      <p:sp>
        <p:nvSpPr>
          <p:cNvPr id="23" name="Title Placeholder 1"/>
          <p:cNvSpPr>
            <a:spLocks noGrp="1"/>
          </p:cNvSpPr>
          <p:nvPr userDrawn="1">
            <p:ph type="title"/>
          </p:nvPr>
        </p:nvSpPr>
        <p:spPr>
          <a:xfrm>
            <a:off x="2095071" y="654936"/>
            <a:ext cx="6456262" cy="563209"/>
          </a:xfrm>
          <a:prstGeom prst="rect">
            <a:avLst/>
          </a:prstGeom>
        </p:spPr>
        <p:txBody>
          <a:bodyPr vert="horz" wrap="square" lIns="0" tIns="0" rIns="0" bIns="0" rtlCol="0" anchor="b" anchorCtr="0">
            <a:noAutofit/>
          </a:bodyPr>
          <a:lstStyle>
            <a:lvl1pPr algn="l">
              <a:defRPr sz="2200" baseline="0">
                <a:solidFill>
                  <a:schemeClr val="accent5"/>
                </a:solidFill>
              </a:defRPr>
            </a:lvl1pPr>
          </a:lstStyle>
          <a:p>
            <a:r>
              <a:rPr lang="en-US" dirty="0" smtClean="0"/>
              <a:t>Click to edit Master title style</a:t>
            </a:r>
            <a:endParaRPr lang="en-US" dirty="0"/>
          </a:p>
        </p:txBody>
      </p:sp>
      <p:sp>
        <p:nvSpPr>
          <p:cNvPr id="24" name="Text Placeholder 2"/>
          <p:cNvSpPr>
            <a:spLocks noGrp="1"/>
          </p:cNvSpPr>
          <p:nvPr userDrawn="1">
            <p:ph idx="1"/>
          </p:nvPr>
        </p:nvSpPr>
        <p:spPr>
          <a:xfrm>
            <a:off x="2095071" y="1450464"/>
            <a:ext cx="6456262" cy="3046041"/>
          </a:xfrm>
          <a:prstGeom prst="rect">
            <a:avLst/>
          </a:prstGeom>
        </p:spPr>
        <p:txBody>
          <a:bodyPr vert="horz" lIns="0" tIns="0" rIns="0" bIns="0" rtlCol="0">
            <a:normAutofit/>
          </a:bodyPr>
          <a:lstStyle>
            <a:lvl1pPr marL="233363" indent="-233363">
              <a:lnSpc>
                <a:spcPts val="2000"/>
              </a:lnSpc>
              <a:buClr>
                <a:schemeClr val="accent3"/>
              </a:buClr>
              <a:defRPr sz="1800">
                <a:solidFill>
                  <a:schemeClr val="accent5"/>
                </a:solidFill>
              </a:defRPr>
            </a:lvl1pPr>
            <a:lvl2pPr marL="455613" indent="-222250">
              <a:lnSpc>
                <a:spcPts val="2000"/>
              </a:lnSpc>
              <a:buClr>
                <a:schemeClr val="bg1"/>
              </a:buClr>
              <a:defRPr sz="1800">
                <a:solidFill>
                  <a:schemeClr val="accent5"/>
                </a:solidFill>
              </a:defRPr>
            </a:lvl2pPr>
            <a:lvl3pPr marL="687388" indent="-231775">
              <a:lnSpc>
                <a:spcPts val="2000"/>
              </a:lnSpc>
              <a:buClr>
                <a:schemeClr val="bg1"/>
              </a:buClr>
              <a:defRPr sz="1800">
                <a:solidFill>
                  <a:schemeClr val="accent5"/>
                </a:solidFill>
              </a:defRPr>
            </a:lvl3pPr>
            <a:lvl4pPr marL="909638" indent="-222250">
              <a:lnSpc>
                <a:spcPts val="2000"/>
              </a:lnSpc>
              <a:buClr>
                <a:schemeClr val="bg1"/>
              </a:buClr>
              <a:defRPr sz="1800">
                <a:solidFill>
                  <a:schemeClr val="accent5"/>
                </a:solidFill>
              </a:defRPr>
            </a:lvl4pPr>
            <a:lvl5pPr marL="1143000" indent="-233363">
              <a:lnSpc>
                <a:spcPts val="2000"/>
              </a:lnSpc>
              <a:buClr>
                <a:schemeClr val="bg1"/>
              </a:buClr>
              <a:buFont typeface="Arial"/>
              <a:buChar char="•"/>
              <a:defRPr sz="1800">
                <a:solidFill>
                  <a:schemeClr val="accent5"/>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9398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alphaModFix amt="85000"/>
            <a:extLst>
              <a:ext uri="{28A0092B-C50C-407E-A947-70E740481C1C}">
                <a14:useLocalDpi xmlns:a14="http://schemas.microsoft.com/office/drawing/2010/main" val="0"/>
              </a:ext>
            </a:extLst>
          </a:blip>
          <a:stretch>
            <a:fillRect/>
          </a:stretch>
        </p:blipFill>
        <p:spPr>
          <a:xfrm>
            <a:off x="4975455" y="987162"/>
            <a:ext cx="4168545" cy="4156338"/>
          </a:xfrm>
          <a:prstGeom prst="rect">
            <a:avLst/>
          </a:prstGeom>
        </p:spPr>
      </p:pic>
      <p:sp>
        <p:nvSpPr>
          <p:cNvPr id="7" name="Title Placeholder 1"/>
          <p:cNvSpPr>
            <a:spLocks noGrp="1"/>
          </p:cNvSpPr>
          <p:nvPr>
            <p:ph type="title"/>
          </p:nvPr>
        </p:nvSpPr>
        <p:spPr>
          <a:xfrm>
            <a:off x="347472" y="347472"/>
            <a:ext cx="8494776" cy="563209"/>
          </a:xfrm>
          <a:prstGeom prst="rect">
            <a:avLst/>
          </a:prstGeom>
        </p:spPr>
        <p:txBody>
          <a:bodyPr vert="horz" wrap="square" lIns="0" tIns="0" rIns="0" bIns="0" rtlCol="0" anchor="b" anchorCtr="0">
            <a:noAutofit/>
          </a:bodyPr>
          <a:lstStyle>
            <a:lvl1pPr algn="l">
              <a:lnSpc>
                <a:spcPts val="2300"/>
              </a:lnSpc>
              <a:defRPr sz="2200" baseline="0">
                <a:solidFill>
                  <a:schemeClr val="accent5"/>
                </a:solidFill>
              </a:defRPr>
            </a:lvl1pPr>
          </a:lstStyle>
          <a:p>
            <a:r>
              <a:rPr lang="en-US" dirty="0" smtClean="0"/>
              <a:t>Click to edit Master title style</a:t>
            </a:r>
            <a:endParaRPr lang="en-US" dirty="0"/>
          </a:p>
        </p:txBody>
      </p:sp>
      <p:sp>
        <p:nvSpPr>
          <p:cNvPr id="8" name="Text Placeholder 2"/>
          <p:cNvSpPr>
            <a:spLocks noGrp="1"/>
          </p:cNvSpPr>
          <p:nvPr>
            <p:ph idx="1"/>
          </p:nvPr>
        </p:nvSpPr>
        <p:spPr>
          <a:xfrm>
            <a:off x="347472" y="1143000"/>
            <a:ext cx="8494776" cy="3412172"/>
          </a:xfrm>
          <a:prstGeom prst="rect">
            <a:avLst/>
          </a:prstGeom>
        </p:spPr>
        <p:txBody>
          <a:bodyPr vert="horz" lIns="0" tIns="0" rIns="0" bIns="0" rtlCol="0">
            <a:normAutofit/>
          </a:bodyPr>
          <a:lstStyle>
            <a:lvl1pPr marL="233363" indent="-233363">
              <a:lnSpc>
                <a:spcPts val="2000"/>
              </a:lnSpc>
              <a:buClr>
                <a:schemeClr val="accent1"/>
              </a:buClr>
              <a:defRPr sz="1800">
                <a:solidFill>
                  <a:srgbClr val="747678"/>
                </a:solidFill>
              </a:defRPr>
            </a:lvl1pPr>
            <a:lvl2pPr marL="454025" indent="-220663">
              <a:lnSpc>
                <a:spcPts val="2000"/>
              </a:lnSpc>
              <a:buClr>
                <a:schemeClr val="accent2"/>
              </a:buClr>
              <a:defRPr sz="1800">
                <a:solidFill>
                  <a:srgbClr val="747678"/>
                </a:solidFill>
              </a:defRPr>
            </a:lvl2pPr>
            <a:lvl3pPr marL="687388" indent="-233363">
              <a:lnSpc>
                <a:spcPts val="2000"/>
              </a:lnSpc>
              <a:buClr>
                <a:schemeClr val="accent2"/>
              </a:buClr>
              <a:defRPr sz="1800">
                <a:solidFill>
                  <a:srgbClr val="747678"/>
                </a:solidFill>
              </a:defRPr>
            </a:lvl3pPr>
            <a:lvl4pPr marL="908050" indent="-220663">
              <a:lnSpc>
                <a:spcPts val="2000"/>
              </a:lnSpc>
              <a:buClr>
                <a:schemeClr val="accent2"/>
              </a:buClr>
              <a:defRPr sz="1800">
                <a:solidFill>
                  <a:srgbClr val="747678"/>
                </a:solidFill>
              </a:defRPr>
            </a:lvl4pPr>
            <a:lvl5pPr marL="1193800" indent="-285750">
              <a:lnSpc>
                <a:spcPts val="2000"/>
              </a:lnSpc>
              <a:buClr>
                <a:schemeClr val="accent2"/>
              </a:buClr>
              <a:buFont typeface="Arial"/>
              <a:buChar char="•"/>
              <a:defRPr sz="1800">
                <a:solidFill>
                  <a:srgbClr val="747678"/>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6130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40" name="Rectangle 39"/>
          <p:cNvSpPr/>
          <p:nvPr userDrawn="1"/>
        </p:nvSpPr>
        <p:spPr>
          <a:xfrm>
            <a:off x="1796139" y="343940"/>
            <a:ext cx="7019777" cy="42829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2" name="Picture 41" descr="SmBusinessUser6_iStock_000067394109_XXXLarge_PPT.jpg"/>
          <p:cNvPicPr>
            <a:picLocks noChangeAspect="1"/>
          </p:cNvPicPr>
          <p:nvPr userDrawn="1"/>
        </p:nvPicPr>
        <p:blipFill rotWithShape="1">
          <a:blip r:embed="rId2">
            <a:extLst>
              <a:ext uri="{28A0092B-C50C-407E-A947-70E740481C1C}">
                <a14:useLocalDpi xmlns:a14="http://schemas.microsoft.com/office/drawing/2010/main" val="0"/>
              </a:ext>
            </a:extLst>
          </a:blip>
          <a:srcRect l="27750" t="20779" r="45710" b="39380"/>
          <a:stretch/>
        </p:blipFill>
        <p:spPr>
          <a:xfrm>
            <a:off x="348932" y="3245937"/>
            <a:ext cx="1376687" cy="1376687"/>
          </a:xfrm>
          <a:prstGeom prst="rect">
            <a:avLst/>
          </a:prstGeom>
        </p:spPr>
      </p:pic>
      <p:sp>
        <p:nvSpPr>
          <p:cNvPr id="43" name="Rectangle 42"/>
          <p:cNvSpPr/>
          <p:nvPr userDrawn="1"/>
        </p:nvSpPr>
        <p:spPr>
          <a:xfrm>
            <a:off x="347473" y="3240903"/>
            <a:ext cx="1378145" cy="1381722"/>
          </a:xfrm>
          <a:prstGeom prst="rect">
            <a:avLst/>
          </a:prstGeom>
          <a:solidFill>
            <a:schemeClr val="accent4">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4" name="Picture 43" descr="TCH223_SmallBiz_169_300.jpg"/>
          <p:cNvPicPr>
            <a:picLocks noChangeAspect="1"/>
          </p:cNvPicPr>
          <p:nvPr userDrawn="1"/>
        </p:nvPicPr>
        <p:blipFill rotWithShape="1">
          <a:blip r:embed="rId3">
            <a:extLst>
              <a:ext uri="{28A0092B-C50C-407E-A947-70E740481C1C}">
                <a14:useLocalDpi xmlns:a14="http://schemas.microsoft.com/office/drawing/2010/main" val="0"/>
              </a:ext>
            </a:extLst>
          </a:blip>
          <a:srcRect l="44009" t="10109" r="15045" b="17149"/>
          <a:stretch/>
        </p:blipFill>
        <p:spPr>
          <a:xfrm>
            <a:off x="347473" y="1796003"/>
            <a:ext cx="1376687" cy="1376687"/>
          </a:xfrm>
          <a:prstGeom prst="rect">
            <a:avLst/>
          </a:prstGeom>
        </p:spPr>
      </p:pic>
      <p:pic>
        <p:nvPicPr>
          <p:cNvPr id="45" name="Picture 2"/>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7466" t="14427" r="23091" b="11948"/>
          <a:stretch/>
        </p:blipFill>
        <p:spPr bwMode="auto">
          <a:xfrm>
            <a:off x="348839" y="343941"/>
            <a:ext cx="1376780" cy="1380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6" name="Rectangle 45"/>
          <p:cNvSpPr/>
          <p:nvPr userDrawn="1"/>
        </p:nvSpPr>
        <p:spPr>
          <a:xfrm>
            <a:off x="347473" y="343941"/>
            <a:ext cx="1378145" cy="1381722"/>
          </a:xfrm>
          <a:prstGeom prst="rect">
            <a:avLst/>
          </a:prstGeom>
          <a:solidFill>
            <a:schemeClr val="accent3">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31" name="Group 30"/>
          <p:cNvGrpSpPr/>
          <p:nvPr userDrawn="1"/>
        </p:nvGrpSpPr>
        <p:grpSpPr>
          <a:xfrm>
            <a:off x="453890" y="1909700"/>
            <a:ext cx="2589458" cy="2586805"/>
            <a:chOff x="495906" y="2527904"/>
            <a:chExt cx="3611846" cy="3608145"/>
          </a:xfrm>
        </p:grpSpPr>
        <p:sp>
          <p:nvSpPr>
            <p:cNvPr id="32" name="Freeform 48"/>
            <p:cNvSpPr>
              <a:spLocks noChangeArrowheads="1"/>
            </p:cNvSpPr>
            <p:nvPr/>
          </p:nvSpPr>
          <p:spPr bwMode="auto">
            <a:xfrm>
              <a:off x="1149193" y="5182389"/>
              <a:ext cx="1032490" cy="953660"/>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3" name="Freeform 49"/>
            <p:cNvSpPr>
              <a:spLocks noChangeArrowheads="1"/>
            </p:cNvSpPr>
            <p:nvPr/>
          </p:nvSpPr>
          <p:spPr bwMode="auto">
            <a:xfrm>
              <a:off x="2474536" y="2527904"/>
              <a:ext cx="983683" cy="953660"/>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4" name="Freeform 50"/>
            <p:cNvSpPr>
              <a:spLocks noChangeArrowheads="1"/>
            </p:cNvSpPr>
            <p:nvPr/>
          </p:nvSpPr>
          <p:spPr bwMode="auto">
            <a:xfrm>
              <a:off x="495906" y="4502809"/>
              <a:ext cx="957402" cy="983698"/>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5" name="Freeform 51"/>
            <p:cNvSpPr>
              <a:spLocks noChangeArrowheads="1"/>
            </p:cNvSpPr>
            <p:nvPr/>
          </p:nvSpPr>
          <p:spPr bwMode="auto">
            <a:xfrm>
              <a:off x="1149193" y="2527904"/>
              <a:ext cx="1036248" cy="953660"/>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6" name="Freeform 52"/>
            <p:cNvSpPr>
              <a:spLocks noChangeArrowheads="1"/>
            </p:cNvSpPr>
            <p:nvPr/>
          </p:nvSpPr>
          <p:spPr bwMode="auto">
            <a:xfrm>
              <a:off x="2474536" y="5182389"/>
              <a:ext cx="983683" cy="953660"/>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7" name="Freeform 53"/>
            <p:cNvSpPr>
              <a:spLocks noChangeArrowheads="1"/>
            </p:cNvSpPr>
            <p:nvPr/>
          </p:nvSpPr>
          <p:spPr bwMode="auto">
            <a:xfrm>
              <a:off x="3154106" y="3177443"/>
              <a:ext cx="953646" cy="1036263"/>
            </a:xfrm>
            <a:custGeom>
              <a:avLst/>
              <a:gdLst>
                <a:gd name="T0" fmla="*/ 817441 w 1122"/>
                <a:gd name="T1" fmla="*/ 662205 h 1215"/>
                <a:gd name="T2" fmla="*/ 817441 w 1122"/>
                <a:gd name="T3" fmla="*/ 662205 h 1215"/>
                <a:gd name="T4" fmla="*/ 452108 w 1122"/>
                <a:gd name="T5" fmla="*/ 662205 h 1215"/>
                <a:gd name="T6" fmla="*/ 350748 w 1122"/>
                <a:gd name="T7" fmla="*/ 409030 h 1215"/>
                <a:gd name="T8" fmla="*/ 597950 w 1122"/>
                <a:gd name="T9" fmla="*/ 159514 h 1215"/>
                <a:gd name="T10" fmla="*/ 438982 w 1122"/>
                <a:gd name="T11" fmla="*/ 0 h 1215"/>
                <a:gd name="T12" fmla="*/ 0 w 1122"/>
                <a:gd name="T13" fmla="*/ 440494 h 1215"/>
                <a:gd name="T14" fmla="*/ 177926 w 1122"/>
                <a:gd name="T15" fmla="*/ 888305 h 1215"/>
                <a:gd name="T16" fmla="*/ 817441 w 1122"/>
                <a:gd name="T17" fmla="*/ 888305 h 1215"/>
                <a:gd name="T18" fmla="*/ 817441 w 1122"/>
                <a:gd name="T19" fmla="*/ 662205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8" name="Freeform 54"/>
            <p:cNvSpPr>
              <a:spLocks noChangeArrowheads="1"/>
            </p:cNvSpPr>
            <p:nvPr/>
          </p:nvSpPr>
          <p:spPr bwMode="auto">
            <a:xfrm>
              <a:off x="495906" y="3177443"/>
              <a:ext cx="957402" cy="1036263"/>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sp>
          <p:nvSpPr>
            <p:cNvPr id="39" name="Freeform 55"/>
            <p:cNvSpPr>
              <a:spLocks noChangeArrowheads="1"/>
            </p:cNvSpPr>
            <p:nvPr/>
          </p:nvSpPr>
          <p:spPr bwMode="auto">
            <a:xfrm>
              <a:off x="3154106" y="4502809"/>
              <a:ext cx="953646" cy="983698"/>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chemeClr val="bg1">
                <a:alpha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p>
          </p:txBody>
        </p:sp>
      </p:grpSp>
      <p:sp>
        <p:nvSpPr>
          <p:cNvPr id="23" name="Title Placeholder 1"/>
          <p:cNvSpPr>
            <a:spLocks noGrp="1"/>
          </p:cNvSpPr>
          <p:nvPr userDrawn="1">
            <p:ph type="title"/>
          </p:nvPr>
        </p:nvSpPr>
        <p:spPr>
          <a:xfrm>
            <a:off x="2095071" y="654936"/>
            <a:ext cx="6456262" cy="563209"/>
          </a:xfrm>
          <a:prstGeom prst="rect">
            <a:avLst/>
          </a:prstGeom>
        </p:spPr>
        <p:txBody>
          <a:bodyPr vert="horz" wrap="square" lIns="0" tIns="0" rIns="0" bIns="0" rtlCol="0" anchor="b" anchorCtr="0">
            <a:noAutofit/>
          </a:bodyPr>
          <a:lstStyle>
            <a:lvl1pPr algn="l">
              <a:defRPr sz="2200" baseline="0">
                <a:solidFill>
                  <a:srgbClr val="FFFFFF"/>
                </a:solidFill>
              </a:defRPr>
            </a:lvl1pPr>
          </a:lstStyle>
          <a:p>
            <a:r>
              <a:rPr lang="en-US" dirty="0" smtClean="0"/>
              <a:t>Click to edit Master title style</a:t>
            </a:r>
            <a:endParaRPr lang="en-US" dirty="0"/>
          </a:p>
        </p:txBody>
      </p:sp>
      <p:sp>
        <p:nvSpPr>
          <p:cNvPr id="24" name="Text Placeholder 2"/>
          <p:cNvSpPr>
            <a:spLocks noGrp="1"/>
          </p:cNvSpPr>
          <p:nvPr userDrawn="1">
            <p:ph idx="1"/>
          </p:nvPr>
        </p:nvSpPr>
        <p:spPr>
          <a:xfrm>
            <a:off x="2095071" y="1450464"/>
            <a:ext cx="6456262" cy="3046041"/>
          </a:xfrm>
          <a:prstGeom prst="rect">
            <a:avLst/>
          </a:prstGeom>
        </p:spPr>
        <p:txBody>
          <a:bodyPr vert="horz" lIns="0" tIns="0" rIns="0" bIns="0" rtlCol="0">
            <a:normAutofit/>
          </a:bodyPr>
          <a:lstStyle>
            <a:lvl1pPr marL="233363" indent="-233363">
              <a:lnSpc>
                <a:spcPts val="2000"/>
              </a:lnSpc>
              <a:buClr>
                <a:schemeClr val="accent3"/>
              </a:buClr>
              <a:defRPr sz="1800">
                <a:solidFill>
                  <a:schemeClr val="bg1"/>
                </a:solidFill>
              </a:defRPr>
            </a:lvl1pPr>
            <a:lvl2pPr marL="455613" indent="-222250">
              <a:lnSpc>
                <a:spcPts val="2000"/>
              </a:lnSpc>
              <a:buClr>
                <a:schemeClr val="bg1"/>
              </a:buClr>
              <a:defRPr sz="1800">
                <a:solidFill>
                  <a:schemeClr val="bg1"/>
                </a:solidFill>
              </a:defRPr>
            </a:lvl2pPr>
            <a:lvl3pPr marL="687388" indent="-231775">
              <a:lnSpc>
                <a:spcPts val="2000"/>
              </a:lnSpc>
              <a:buClr>
                <a:schemeClr val="bg1"/>
              </a:buClr>
              <a:defRPr sz="1800">
                <a:solidFill>
                  <a:schemeClr val="bg1"/>
                </a:solidFill>
              </a:defRPr>
            </a:lvl3pPr>
            <a:lvl4pPr marL="909638" indent="-222250">
              <a:lnSpc>
                <a:spcPts val="2000"/>
              </a:lnSpc>
              <a:buClr>
                <a:schemeClr val="bg1"/>
              </a:buClr>
              <a:defRPr sz="1800">
                <a:solidFill>
                  <a:schemeClr val="bg1"/>
                </a:solidFill>
              </a:defRPr>
            </a:lvl4pPr>
            <a:lvl5pPr marL="1143000" indent="-233363">
              <a:lnSpc>
                <a:spcPts val="2000"/>
              </a:lnSpc>
              <a:buClr>
                <a:schemeClr val="bg1"/>
              </a:buClr>
              <a:buFont typeface="Arial"/>
              <a:buChar char="•"/>
              <a:defRPr sz="18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3350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3508744" y="343858"/>
            <a:ext cx="5369442" cy="42919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5"/>
              </a:solidFill>
            </a:endParaRPr>
          </a:p>
        </p:txBody>
      </p:sp>
      <p:grpSp>
        <p:nvGrpSpPr>
          <p:cNvPr id="24" name="Group 23"/>
          <p:cNvGrpSpPr/>
          <p:nvPr userDrawn="1"/>
        </p:nvGrpSpPr>
        <p:grpSpPr>
          <a:xfrm>
            <a:off x="350874" y="343857"/>
            <a:ext cx="2885214" cy="4286681"/>
            <a:chOff x="350874" y="343857"/>
            <a:chExt cx="2885214" cy="4286681"/>
          </a:xfrm>
        </p:grpSpPr>
        <p:sp>
          <p:nvSpPr>
            <p:cNvPr id="10" name="Rectangle 9"/>
            <p:cNvSpPr/>
            <p:nvPr userDrawn="1"/>
          </p:nvSpPr>
          <p:spPr>
            <a:xfrm>
              <a:off x="350874" y="343857"/>
              <a:ext cx="1380744" cy="138074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350874" y="1796744"/>
              <a:ext cx="1380744" cy="138074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12" name="Rectangle 11"/>
            <p:cNvSpPr/>
            <p:nvPr userDrawn="1"/>
          </p:nvSpPr>
          <p:spPr>
            <a:xfrm>
              <a:off x="350874" y="3249794"/>
              <a:ext cx="1380744" cy="138074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a:off x="1855344" y="3249794"/>
              <a:ext cx="1380744" cy="138074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1855344" y="1796744"/>
              <a:ext cx="1380744" cy="138074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9" name="Rectangle 8"/>
            <p:cNvSpPr/>
            <p:nvPr/>
          </p:nvSpPr>
          <p:spPr>
            <a:xfrm>
              <a:off x="1855344" y="343857"/>
              <a:ext cx="1380744" cy="138074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50000"/>
                  </a:schemeClr>
                </a:solidFill>
              </a:endParaRPr>
            </a:p>
          </p:txBody>
        </p:sp>
      </p:grpSp>
    </p:spTree>
    <p:extLst>
      <p:ext uri="{BB962C8B-B14F-4D97-AF65-F5344CB8AC3E}">
        <p14:creationId xmlns:p14="http://schemas.microsoft.com/office/powerpoint/2010/main" val="321123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7472" y="847428"/>
            <a:ext cx="8449744" cy="3791248"/>
          </a:xfrm>
          <a:prstGeom prst="rect">
            <a:avLst/>
          </a:prstGeom>
        </p:spPr>
        <p:txBody>
          <a:bodyPr lIns="0" tIns="0" rIns="0" bIns="0" numCol="1" spcCol="228600">
            <a:normAutofit/>
          </a:bodyPr>
          <a:lstStyle>
            <a:lvl1pPr marL="231775" indent="-228600">
              <a:lnSpc>
                <a:spcPct val="111000"/>
              </a:lnSpc>
              <a:buClr>
                <a:schemeClr val="accent1"/>
              </a:buClr>
              <a:tabLst>
                <a:tab pos="57150" algn="l"/>
              </a:tabLst>
              <a:defRPr sz="1600">
                <a:solidFill>
                  <a:schemeClr val="tx1"/>
                </a:solidFill>
              </a:defRPr>
            </a:lvl1pPr>
            <a:lvl2pPr marL="457200" indent="-228600">
              <a:lnSpc>
                <a:spcPct val="111000"/>
              </a:lnSpc>
              <a:buClr>
                <a:schemeClr val="accent2"/>
              </a:buClr>
              <a:tabLst>
                <a:tab pos="57150" algn="l"/>
              </a:tabLst>
              <a:defRPr sz="1600">
                <a:solidFill>
                  <a:schemeClr val="tx1"/>
                </a:solidFill>
              </a:defRPr>
            </a:lvl2pPr>
            <a:lvl3pPr marL="688975" indent="-228600">
              <a:lnSpc>
                <a:spcPct val="111000"/>
              </a:lnSpc>
              <a:buClr>
                <a:schemeClr val="accent2"/>
              </a:buClr>
              <a:tabLst>
                <a:tab pos="57150" algn="l"/>
              </a:tabLst>
              <a:defRPr sz="1600">
                <a:solidFill>
                  <a:schemeClr val="tx1"/>
                </a:solidFill>
              </a:defRPr>
            </a:lvl3pPr>
            <a:lvl4pPr marL="914400" indent="-228600">
              <a:lnSpc>
                <a:spcPct val="111000"/>
              </a:lnSpc>
              <a:buClr>
                <a:schemeClr val="accent2"/>
              </a:buClr>
              <a:tabLst>
                <a:tab pos="57150" algn="l"/>
              </a:tabLst>
              <a:defRPr sz="1600">
                <a:solidFill>
                  <a:schemeClr val="tx1"/>
                </a:solidFill>
              </a:defRPr>
            </a:lvl4pPr>
            <a:lvl5pPr>
              <a:lnSpc>
                <a:spcPct val="111000"/>
              </a:lnSpc>
              <a:buClr>
                <a:schemeClr val="accent2"/>
              </a:buClr>
              <a:tabLst>
                <a:tab pos="57150" algn="l"/>
              </a:tabLst>
              <a:defRPr sz="16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7" name="Slide Number Placeholder 13"/>
          <p:cNvSpPr>
            <a:spLocks noGrp="1"/>
          </p:cNvSpPr>
          <p:nvPr>
            <p:ph type="sldNum" sz="quarter" idx="4"/>
          </p:nvPr>
        </p:nvSpPr>
        <p:spPr>
          <a:xfrm>
            <a:off x="8340202" y="4879579"/>
            <a:ext cx="432271" cy="193268"/>
          </a:xfrm>
          <a:prstGeom prst="rect">
            <a:avLst/>
          </a:prstGeom>
        </p:spPr>
        <p:txBody>
          <a:bodyPr/>
          <a:lstStyle>
            <a:lvl1pPr algn="r">
              <a:defRPr sz="900">
                <a:solidFill>
                  <a:schemeClr val="accent5"/>
                </a:solidFill>
              </a:defRPr>
            </a:lvl1pPr>
          </a:lstStyle>
          <a:p>
            <a:fld id="{A49D8FFF-BE2E-F642-9C5D-1D11F0620318}" type="slidenum">
              <a:rPr lang="en-US" smtClean="0"/>
              <a:pPr/>
              <a:t>‹#›</a:t>
            </a:fld>
            <a:endParaRPr lang="en-US" dirty="0"/>
          </a:p>
        </p:txBody>
      </p:sp>
      <p:sp>
        <p:nvSpPr>
          <p:cNvPr id="18" name="Title Placeholder 1"/>
          <p:cNvSpPr>
            <a:spLocks noGrp="1"/>
          </p:cNvSpPr>
          <p:nvPr>
            <p:ph type="title"/>
          </p:nvPr>
        </p:nvSpPr>
        <p:spPr>
          <a:xfrm>
            <a:off x="347472" y="242817"/>
            <a:ext cx="8425000" cy="422407"/>
          </a:xfrm>
          <a:prstGeom prst="rect">
            <a:avLst/>
          </a:prstGeom>
        </p:spPr>
        <p:txBody>
          <a:bodyPr vert="horz" wrap="square" lIns="0" tIns="0" rIns="0" bIns="0" rtlCol="0" anchor="b" anchorCtr="0">
            <a:noAutofit/>
          </a:bodyPr>
          <a:lstStyle>
            <a:lvl1pPr>
              <a:lnSpc>
                <a:spcPct val="100000"/>
              </a:lnSpc>
              <a:defRPr sz="2400" baseline="0"/>
            </a:lvl1pPr>
          </a:lstStyle>
          <a:p>
            <a:r>
              <a:rPr lang="en-US" dirty="0" smtClean="0"/>
              <a:t>Click to edit Master title style</a:t>
            </a:r>
            <a:endParaRPr lang="en-US" dirty="0"/>
          </a:p>
        </p:txBody>
      </p:sp>
      <p:sp>
        <p:nvSpPr>
          <p:cNvPr id="5" name="Footer Placeholder 12"/>
          <p:cNvSpPr>
            <a:spLocks noGrp="1"/>
          </p:cNvSpPr>
          <p:nvPr>
            <p:ph type="ftr" sz="quarter" idx="3"/>
          </p:nvPr>
        </p:nvSpPr>
        <p:spPr>
          <a:xfrm>
            <a:off x="5444601" y="4879579"/>
            <a:ext cx="2895600" cy="193267"/>
          </a:xfrm>
          <a:prstGeom prst="rect">
            <a:avLst/>
          </a:prstGeom>
        </p:spPr>
        <p:txBody>
          <a:bodyPr/>
          <a:lstStyle>
            <a:lvl1pPr algn="r">
              <a:defRPr sz="900" cap="all">
                <a:solidFill>
                  <a:schemeClr val="accent5"/>
                </a:solidFill>
              </a:defRPr>
            </a:lvl1pPr>
          </a:lstStyle>
          <a:p>
            <a:r>
              <a:rPr lang="en-US" smtClean="0"/>
              <a:t>©2017 The Clearing House Payments Company L.L.C.</a:t>
            </a:r>
            <a:endParaRPr lang="en-US" dirty="0"/>
          </a:p>
        </p:txBody>
      </p:sp>
    </p:spTree>
    <p:extLst>
      <p:ext uri="{BB962C8B-B14F-4D97-AF65-F5344CB8AC3E}">
        <p14:creationId xmlns:p14="http://schemas.microsoft.com/office/powerpoint/2010/main" val="30609020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ONE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2568466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28"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le 2"/>
          <p:cNvSpPr>
            <a:spLocks noGrp="1"/>
          </p:cNvSpPr>
          <p:nvPr>
            <p:ph type="title"/>
          </p:nvPr>
        </p:nvSpPr>
        <p:spPr>
          <a:xfrm>
            <a:off x="563335" y="322327"/>
            <a:ext cx="7810283" cy="217424"/>
          </a:xfrm>
          <a:prstGeom prst="rect">
            <a:avLst/>
          </a:prstGeom>
        </p:spPr>
        <p:txBody>
          <a:bodyPr lIns="68580" tIns="34290" rIns="68580" bIns="34290"/>
          <a:lstStyle>
            <a:lvl1pPr>
              <a:defRPr sz="2100">
                <a:latin typeface="Calibri" panose="020F0502020204030204" pitchFamily="34" charset="0"/>
                <a:cs typeface="Calibri" panose="020F0502020204030204" pitchFamily="34" charset="0"/>
              </a:defRPr>
            </a:lvl1pPr>
          </a:lstStyle>
          <a:p>
            <a:r>
              <a:rPr lang="en-US" noProof="0" dirty="0" smtClean="0"/>
              <a:t>Click to edit Master title style</a:t>
            </a:r>
            <a:endParaRPr lang="en-US" noProof="0" dirty="0"/>
          </a:p>
        </p:txBody>
      </p:sp>
      <p:sp>
        <p:nvSpPr>
          <p:cNvPr id="28" name="Slide Number Placeholder 27"/>
          <p:cNvSpPr>
            <a:spLocks noGrp="1"/>
          </p:cNvSpPr>
          <p:nvPr>
            <p:ph type="sldNum" sz="quarter" idx="17"/>
          </p:nvPr>
        </p:nvSpPr>
        <p:spPr>
          <a:xfrm>
            <a:off x="8883650" y="4953000"/>
            <a:ext cx="247649" cy="183359"/>
          </a:xfrm>
          <a:prstGeom prst="rect">
            <a:avLst/>
          </a:prstGeom>
        </p:spPr>
        <p:txBody>
          <a:bodyPr lIns="68580" tIns="34290" rIns="68580" bIns="34290"/>
          <a:lstStyle/>
          <a:p>
            <a:fld id="{6C75A6B5-3BBF-459E-B93A-9438EA9406A2}" type="slidenum">
              <a:rPr lang="en-US" smtClean="0"/>
              <a:pPr/>
              <a:t>‹#›</a:t>
            </a:fld>
            <a:endParaRPr lang="en-US" dirty="0"/>
          </a:p>
        </p:txBody>
      </p:sp>
      <p:sp>
        <p:nvSpPr>
          <p:cNvPr id="5" name="Text Placeholder 22"/>
          <p:cNvSpPr>
            <a:spLocks noGrp="1"/>
          </p:cNvSpPr>
          <p:nvPr>
            <p:ph type="body" sz="quarter" idx="16"/>
          </p:nvPr>
        </p:nvSpPr>
        <p:spPr>
          <a:xfrm>
            <a:off x="563334" y="556259"/>
            <a:ext cx="7843576" cy="167640"/>
          </a:xfrm>
          <a:prstGeom prst="rect">
            <a:avLst/>
          </a:prstGeom>
        </p:spPr>
        <p:txBody>
          <a:bodyPr lIns="0" tIns="0" rIns="0" bIns="0"/>
          <a:lstStyle>
            <a:lvl1pPr>
              <a:defRPr lang="en-US" sz="900" b="1" kern="1200" dirty="0" smtClean="0">
                <a:solidFill>
                  <a:schemeClr val="tx1"/>
                </a:solidFill>
                <a:latin typeface="Calibri" panose="020F0502020204030204" pitchFamily="34" charset="0"/>
                <a:ea typeface="+mj-ea"/>
                <a:cs typeface="Calibri" panose="020F0502020204030204" pitchFamily="34" charset="0"/>
              </a:defRPr>
            </a:lvl1pPr>
          </a:lstStyle>
          <a:p>
            <a:pPr marL="0" lvl="0" indent="0" algn="l" defTabSz="685800" rtl="0" eaLnBrk="1" latinLnBrk="0" hangingPunct="1">
              <a:lnSpc>
                <a:spcPct val="70000"/>
              </a:lnSpc>
              <a:spcBef>
                <a:spcPct val="0"/>
              </a:spcBef>
              <a:spcAft>
                <a:spcPts val="450"/>
              </a:spcAft>
              <a:buFontTx/>
              <a:buNone/>
            </a:pPr>
            <a:r>
              <a:rPr lang="en-US" dirty="0" smtClean="0"/>
              <a:t>Click to edit Master text styles</a:t>
            </a:r>
          </a:p>
        </p:txBody>
      </p:sp>
    </p:spTree>
    <p:extLst>
      <p:ext uri="{BB962C8B-B14F-4D97-AF65-F5344CB8AC3E}">
        <p14:creationId xmlns:p14="http://schemas.microsoft.com/office/powerpoint/2010/main" val="40509961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1" y="1"/>
            <a:ext cx="9144000" cy="5143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grpSp>
        <p:nvGrpSpPr>
          <p:cNvPr id="8" name="Group 2"/>
          <p:cNvGrpSpPr>
            <a:grpSpLocks/>
          </p:cNvGrpSpPr>
          <p:nvPr userDrawn="1"/>
        </p:nvGrpSpPr>
        <p:grpSpPr bwMode="auto">
          <a:xfrm>
            <a:off x="6908800" y="266889"/>
            <a:ext cx="2026124" cy="307034"/>
            <a:chOff x="722313" y="1177924"/>
            <a:chExt cx="8621712" cy="1306513"/>
          </a:xfrm>
        </p:grpSpPr>
        <p:sp>
          <p:nvSpPr>
            <p:cNvPr id="9" name="Freeform 30"/>
            <p:cNvSpPr>
              <a:spLocks noChangeArrowheads="1"/>
            </p:cNvSpPr>
            <p:nvPr/>
          </p:nvSpPr>
          <p:spPr bwMode="auto">
            <a:xfrm>
              <a:off x="8505825" y="1727199"/>
              <a:ext cx="273050" cy="452438"/>
            </a:xfrm>
            <a:custGeom>
              <a:avLst/>
              <a:gdLst>
                <a:gd name="T0" fmla="*/ 337 w 882"/>
                <a:gd name="T1" fmla="*/ 1467 h 1468"/>
                <a:gd name="T2" fmla="*/ 337 w 882"/>
                <a:gd name="T3" fmla="*/ 1467 h 1468"/>
                <a:gd name="T4" fmla="*/ 244 w 882"/>
                <a:gd name="T5" fmla="*/ 1465 h 1468"/>
                <a:gd name="T6" fmla="*/ 0 w 882"/>
                <a:gd name="T7" fmla="*/ 1404 h 1468"/>
                <a:gd name="T8" fmla="*/ 23 w 882"/>
                <a:gd name="T9" fmla="*/ 1329 h 1468"/>
                <a:gd name="T10" fmla="*/ 67 w 882"/>
                <a:gd name="T11" fmla="*/ 1156 h 1468"/>
                <a:gd name="T12" fmla="*/ 95 w 882"/>
                <a:gd name="T13" fmla="*/ 1154 h 1468"/>
                <a:gd name="T14" fmla="*/ 384 w 882"/>
                <a:gd name="T15" fmla="*/ 1329 h 1468"/>
                <a:gd name="T16" fmla="*/ 656 w 882"/>
                <a:gd name="T17" fmla="*/ 1087 h 1468"/>
                <a:gd name="T18" fmla="*/ 572 w 882"/>
                <a:gd name="T19" fmla="*/ 907 h 1468"/>
                <a:gd name="T20" fmla="*/ 390 w 882"/>
                <a:gd name="T21" fmla="*/ 806 h 1468"/>
                <a:gd name="T22" fmla="*/ 194 w 882"/>
                <a:gd name="T23" fmla="*/ 706 h 1468"/>
                <a:gd name="T24" fmla="*/ 36 w 882"/>
                <a:gd name="T25" fmla="*/ 415 h 1468"/>
                <a:gd name="T26" fmla="*/ 554 w 882"/>
                <a:gd name="T27" fmla="*/ 0 h 1468"/>
                <a:gd name="T28" fmla="*/ 829 w 882"/>
                <a:gd name="T29" fmla="*/ 50 h 1468"/>
                <a:gd name="T30" fmla="*/ 812 w 882"/>
                <a:gd name="T31" fmla="*/ 121 h 1468"/>
                <a:gd name="T32" fmla="*/ 792 w 882"/>
                <a:gd name="T33" fmla="*/ 216 h 1468"/>
                <a:gd name="T34" fmla="*/ 781 w 882"/>
                <a:gd name="T35" fmla="*/ 279 h 1468"/>
                <a:gd name="T36" fmla="*/ 749 w 882"/>
                <a:gd name="T37" fmla="*/ 283 h 1468"/>
                <a:gd name="T38" fmla="*/ 481 w 882"/>
                <a:gd name="T39" fmla="*/ 139 h 1468"/>
                <a:gd name="T40" fmla="*/ 254 w 882"/>
                <a:gd name="T41" fmla="*/ 337 h 1468"/>
                <a:gd name="T42" fmla="*/ 323 w 882"/>
                <a:gd name="T43" fmla="*/ 486 h 1468"/>
                <a:gd name="T44" fmla="*/ 527 w 882"/>
                <a:gd name="T45" fmla="*/ 601 h 1468"/>
                <a:gd name="T46" fmla="*/ 730 w 882"/>
                <a:gd name="T47" fmla="*/ 713 h 1468"/>
                <a:gd name="T48" fmla="*/ 881 w 882"/>
                <a:gd name="T49" fmla="*/ 1011 h 1468"/>
                <a:gd name="T50" fmla="*/ 337 w 882"/>
                <a:gd name="T51" fmla="*/ 1467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2" h="1468">
                  <a:moveTo>
                    <a:pt x="337" y="1467"/>
                  </a:moveTo>
                  <a:lnTo>
                    <a:pt x="337" y="1467"/>
                  </a:lnTo>
                  <a:cubicBezTo>
                    <a:pt x="306" y="1467"/>
                    <a:pt x="274" y="1467"/>
                    <a:pt x="244" y="1465"/>
                  </a:cubicBezTo>
                  <a:cubicBezTo>
                    <a:pt x="162" y="1456"/>
                    <a:pt x="112" y="1445"/>
                    <a:pt x="0" y="1404"/>
                  </a:cubicBezTo>
                  <a:cubicBezTo>
                    <a:pt x="23" y="1329"/>
                    <a:pt x="23" y="1329"/>
                    <a:pt x="23" y="1329"/>
                  </a:cubicBezTo>
                  <a:cubicBezTo>
                    <a:pt x="67" y="1156"/>
                    <a:pt x="67" y="1156"/>
                    <a:pt x="67" y="1156"/>
                  </a:cubicBezTo>
                  <a:cubicBezTo>
                    <a:pt x="95" y="1154"/>
                    <a:pt x="95" y="1154"/>
                    <a:pt x="95" y="1154"/>
                  </a:cubicBezTo>
                  <a:cubicBezTo>
                    <a:pt x="168" y="1277"/>
                    <a:pt x="254" y="1329"/>
                    <a:pt x="384" y="1329"/>
                  </a:cubicBezTo>
                  <a:cubicBezTo>
                    <a:pt x="539" y="1329"/>
                    <a:pt x="656" y="1225"/>
                    <a:pt x="656" y="1087"/>
                  </a:cubicBezTo>
                  <a:cubicBezTo>
                    <a:pt x="656" y="1018"/>
                    <a:pt x="630" y="955"/>
                    <a:pt x="572" y="907"/>
                  </a:cubicBezTo>
                  <a:cubicBezTo>
                    <a:pt x="533" y="869"/>
                    <a:pt x="503" y="858"/>
                    <a:pt x="390" y="806"/>
                  </a:cubicBezTo>
                  <a:cubicBezTo>
                    <a:pt x="291" y="760"/>
                    <a:pt x="237" y="733"/>
                    <a:pt x="194" y="706"/>
                  </a:cubicBezTo>
                  <a:cubicBezTo>
                    <a:pt x="90" y="638"/>
                    <a:pt x="36" y="542"/>
                    <a:pt x="36" y="415"/>
                  </a:cubicBezTo>
                  <a:cubicBezTo>
                    <a:pt x="36" y="156"/>
                    <a:pt x="231" y="0"/>
                    <a:pt x="554" y="0"/>
                  </a:cubicBezTo>
                  <a:cubicBezTo>
                    <a:pt x="654" y="0"/>
                    <a:pt x="712" y="13"/>
                    <a:pt x="829" y="50"/>
                  </a:cubicBezTo>
                  <a:cubicBezTo>
                    <a:pt x="812" y="121"/>
                    <a:pt x="812" y="121"/>
                    <a:pt x="812" y="121"/>
                  </a:cubicBezTo>
                  <a:cubicBezTo>
                    <a:pt x="792" y="216"/>
                    <a:pt x="792" y="216"/>
                    <a:pt x="792" y="216"/>
                  </a:cubicBezTo>
                  <a:cubicBezTo>
                    <a:pt x="781" y="279"/>
                    <a:pt x="781" y="279"/>
                    <a:pt x="781" y="279"/>
                  </a:cubicBezTo>
                  <a:cubicBezTo>
                    <a:pt x="749" y="283"/>
                    <a:pt x="749" y="283"/>
                    <a:pt x="749" y="283"/>
                  </a:cubicBezTo>
                  <a:cubicBezTo>
                    <a:pt x="688" y="188"/>
                    <a:pt x="596" y="139"/>
                    <a:pt x="481" y="139"/>
                  </a:cubicBezTo>
                  <a:cubicBezTo>
                    <a:pt x="343" y="139"/>
                    <a:pt x="254" y="216"/>
                    <a:pt x="254" y="337"/>
                  </a:cubicBezTo>
                  <a:cubicBezTo>
                    <a:pt x="254" y="398"/>
                    <a:pt x="276" y="449"/>
                    <a:pt x="323" y="486"/>
                  </a:cubicBezTo>
                  <a:cubicBezTo>
                    <a:pt x="364" y="521"/>
                    <a:pt x="395" y="538"/>
                    <a:pt x="527" y="601"/>
                  </a:cubicBezTo>
                  <a:cubicBezTo>
                    <a:pt x="635" y="657"/>
                    <a:pt x="682" y="679"/>
                    <a:pt x="730" y="713"/>
                  </a:cubicBezTo>
                  <a:cubicBezTo>
                    <a:pt x="825" y="784"/>
                    <a:pt x="881" y="890"/>
                    <a:pt x="881" y="1011"/>
                  </a:cubicBezTo>
                  <a:cubicBezTo>
                    <a:pt x="881" y="1281"/>
                    <a:pt x="660" y="1467"/>
                    <a:pt x="337" y="1467"/>
                  </a:cubicBez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0" name="Freeform 31"/>
            <p:cNvSpPr>
              <a:spLocks noChangeArrowheads="1"/>
            </p:cNvSpPr>
            <p:nvPr/>
          </p:nvSpPr>
          <p:spPr bwMode="auto">
            <a:xfrm>
              <a:off x="8048625" y="1739899"/>
              <a:ext cx="428625" cy="436563"/>
            </a:xfrm>
            <a:custGeom>
              <a:avLst/>
              <a:gdLst>
                <a:gd name="T0" fmla="*/ 1337 w 1394"/>
                <a:gd name="T1" fmla="*/ 1376 h 1418"/>
                <a:gd name="T2" fmla="*/ 1337 w 1394"/>
                <a:gd name="T3" fmla="*/ 1376 h 1418"/>
                <a:gd name="T4" fmla="*/ 1267 w 1394"/>
                <a:gd name="T5" fmla="*/ 1380 h 1418"/>
                <a:gd name="T6" fmla="*/ 1093 w 1394"/>
                <a:gd name="T7" fmla="*/ 1389 h 1418"/>
                <a:gd name="T8" fmla="*/ 1002 w 1394"/>
                <a:gd name="T9" fmla="*/ 1396 h 1418"/>
                <a:gd name="T10" fmla="*/ 997 w 1394"/>
                <a:gd name="T11" fmla="*/ 1138 h 1418"/>
                <a:gd name="T12" fmla="*/ 875 w 1394"/>
                <a:gd name="T13" fmla="*/ 1236 h 1418"/>
                <a:gd name="T14" fmla="*/ 466 w 1394"/>
                <a:gd name="T15" fmla="*/ 1417 h 1418"/>
                <a:gd name="T16" fmla="*/ 116 w 1394"/>
                <a:gd name="T17" fmla="*/ 1231 h 1418"/>
                <a:gd name="T18" fmla="*/ 69 w 1394"/>
                <a:gd name="T19" fmla="*/ 1104 h 1418"/>
                <a:gd name="T20" fmla="*/ 58 w 1394"/>
                <a:gd name="T21" fmla="*/ 879 h 1418"/>
                <a:gd name="T22" fmla="*/ 58 w 1394"/>
                <a:gd name="T23" fmla="*/ 551 h 1418"/>
                <a:gd name="T24" fmla="*/ 0 w 1394"/>
                <a:gd name="T25" fmla="*/ 7 h 1418"/>
                <a:gd name="T26" fmla="*/ 75 w 1394"/>
                <a:gd name="T27" fmla="*/ 11 h 1418"/>
                <a:gd name="T28" fmla="*/ 248 w 1394"/>
                <a:gd name="T29" fmla="*/ 2 h 1418"/>
                <a:gd name="T30" fmla="*/ 334 w 1394"/>
                <a:gd name="T31" fmla="*/ 0 h 1418"/>
                <a:gd name="T32" fmla="*/ 311 w 1394"/>
                <a:gd name="T33" fmla="*/ 138 h 1418"/>
                <a:gd name="T34" fmla="*/ 291 w 1394"/>
                <a:gd name="T35" fmla="*/ 493 h 1418"/>
                <a:gd name="T36" fmla="*/ 294 w 1394"/>
                <a:gd name="T37" fmla="*/ 756 h 1418"/>
                <a:gd name="T38" fmla="*/ 321 w 1394"/>
                <a:gd name="T39" fmla="*/ 1048 h 1418"/>
                <a:gd name="T40" fmla="*/ 576 w 1394"/>
                <a:gd name="T41" fmla="*/ 1221 h 1418"/>
                <a:gd name="T42" fmla="*/ 849 w 1394"/>
                <a:gd name="T43" fmla="*/ 1115 h 1418"/>
                <a:gd name="T44" fmla="*/ 972 w 1394"/>
                <a:gd name="T45" fmla="*/ 745 h 1418"/>
                <a:gd name="T46" fmla="*/ 972 w 1394"/>
                <a:gd name="T47" fmla="*/ 551 h 1418"/>
                <a:gd name="T48" fmla="*/ 918 w 1394"/>
                <a:gd name="T49" fmla="*/ 7 h 1418"/>
                <a:gd name="T50" fmla="*/ 989 w 1394"/>
                <a:gd name="T51" fmla="*/ 11 h 1418"/>
                <a:gd name="T52" fmla="*/ 1162 w 1394"/>
                <a:gd name="T53" fmla="*/ 2 h 1418"/>
                <a:gd name="T54" fmla="*/ 1248 w 1394"/>
                <a:gd name="T55" fmla="*/ 0 h 1418"/>
                <a:gd name="T56" fmla="*/ 1229 w 1394"/>
                <a:gd name="T57" fmla="*/ 138 h 1418"/>
                <a:gd name="T58" fmla="*/ 1205 w 1394"/>
                <a:gd name="T59" fmla="*/ 493 h 1418"/>
                <a:gd name="T60" fmla="*/ 1203 w 1394"/>
                <a:gd name="T61" fmla="*/ 778 h 1418"/>
                <a:gd name="T62" fmla="*/ 1231 w 1394"/>
                <a:gd name="T63" fmla="*/ 1179 h 1418"/>
                <a:gd name="T64" fmla="*/ 1369 w 1394"/>
                <a:gd name="T65" fmla="*/ 1264 h 1418"/>
                <a:gd name="T66" fmla="*/ 1393 w 1394"/>
                <a:gd name="T67" fmla="*/ 1264 h 1418"/>
                <a:gd name="T68" fmla="*/ 1337 w 1394"/>
                <a:gd name="T69" fmla="*/ 1376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4" h="1418">
                  <a:moveTo>
                    <a:pt x="1337" y="1376"/>
                  </a:moveTo>
                  <a:lnTo>
                    <a:pt x="1337" y="1376"/>
                  </a:lnTo>
                  <a:cubicBezTo>
                    <a:pt x="1267" y="1380"/>
                    <a:pt x="1267" y="1380"/>
                    <a:pt x="1267" y="1380"/>
                  </a:cubicBezTo>
                  <a:cubicBezTo>
                    <a:pt x="1093" y="1389"/>
                    <a:pt x="1093" y="1389"/>
                    <a:pt x="1093" y="1389"/>
                  </a:cubicBezTo>
                  <a:cubicBezTo>
                    <a:pt x="1002" y="1396"/>
                    <a:pt x="1002" y="1396"/>
                    <a:pt x="1002" y="1396"/>
                  </a:cubicBezTo>
                  <a:cubicBezTo>
                    <a:pt x="997" y="1138"/>
                    <a:pt x="997" y="1138"/>
                    <a:pt x="997" y="1138"/>
                  </a:cubicBezTo>
                  <a:cubicBezTo>
                    <a:pt x="875" y="1236"/>
                    <a:pt x="875" y="1236"/>
                    <a:pt x="875" y="1236"/>
                  </a:cubicBezTo>
                  <a:cubicBezTo>
                    <a:pt x="712" y="1368"/>
                    <a:pt x="605" y="1417"/>
                    <a:pt x="466" y="1417"/>
                  </a:cubicBezTo>
                  <a:cubicBezTo>
                    <a:pt x="308" y="1417"/>
                    <a:pt x="185" y="1352"/>
                    <a:pt x="116" y="1231"/>
                  </a:cubicBezTo>
                  <a:cubicBezTo>
                    <a:pt x="93" y="1190"/>
                    <a:pt x="78" y="1147"/>
                    <a:pt x="69" y="1104"/>
                  </a:cubicBezTo>
                  <a:cubicBezTo>
                    <a:pt x="58" y="1043"/>
                    <a:pt x="58" y="1009"/>
                    <a:pt x="58" y="879"/>
                  </a:cubicBezTo>
                  <a:cubicBezTo>
                    <a:pt x="58" y="551"/>
                    <a:pt x="58" y="551"/>
                    <a:pt x="58" y="551"/>
                  </a:cubicBezTo>
                  <a:cubicBezTo>
                    <a:pt x="58" y="289"/>
                    <a:pt x="41" y="132"/>
                    <a:pt x="0" y="7"/>
                  </a:cubicBezTo>
                  <a:cubicBezTo>
                    <a:pt x="75" y="11"/>
                    <a:pt x="75" y="11"/>
                    <a:pt x="75" y="11"/>
                  </a:cubicBezTo>
                  <a:cubicBezTo>
                    <a:pt x="248" y="2"/>
                    <a:pt x="248" y="2"/>
                    <a:pt x="248" y="2"/>
                  </a:cubicBezTo>
                  <a:cubicBezTo>
                    <a:pt x="334" y="0"/>
                    <a:pt x="334" y="0"/>
                    <a:pt x="334" y="0"/>
                  </a:cubicBezTo>
                  <a:cubicBezTo>
                    <a:pt x="322" y="60"/>
                    <a:pt x="317" y="106"/>
                    <a:pt x="311" y="138"/>
                  </a:cubicBezTo>
                  <a:cubicBezTo>
                    <a:pt x="300" y="233"/>
                    <a:pt x="291" y="398"/>
                    <a:pt x="291" y="493"/>
                  </a:cubicBezTo>
                  <a:cubicBezTo>
                    <a:pt x="294" y="756"/>
                    <a:pt x="294" y="756"/>
                    <a:pt x="294" y="756"/>
                  </a:cubicBezTo>
                  <a:cubicBezTo>
                    <a:pt x="296" y="905"/>
                    <a:pt x="300" y="983"/>
                    <a:pt x="321" y="1048"/>
                  </a:cubicBezTo>
                  <a:cubicBezTo>
                    <a:pt x="358" y="1162"/>
                    <a:pt x="449" y="1221"/>
                    <a:pt x="576" y="1221"/>
                  </a:cubicBezTo>
                  <a:cubicBezTo>
                    <a:pt x="680" y="1221"/>
                    <a:pt x="769" y="1186"/>
                    <a:pt x="849" y="1115"/>
                  </a:cubicBezTo>
                  <a:cubicBezTo>
                    <a:pt x="946" y="1026"/>
                    <a:pt x="972" y="948"/>
                    <a:pt x="972" y="745"/>
                  </a:cubicBezTo>
                  <a:cubicBezTo>
                    <a:pt x="972" y="551"/>
                    <a:pt x="972" y="551"/>
                    <a:pt x="972" y="551"/>
                  </a:cubicBezTo>
                  <a:cubicBezTo>
                    <a:pt x="972" y="289"/>
                    <a:pt x="959" y="132"/>
                    <a:pt x="918" y="7"/>
                  </a:cubicBezTo>
                  <a:cubicBezTo>
                    <a:pt x="989" y="11"/>
                    <a:pt x="989" y="11"/>
                    <a:pt x="989" y="11"/>
                  </a:cubicBezTo>
                  <a:cubicBezTo>
                    <a:pt x="1162" y="2"/>
                    <a:pt x="1162" y="2"/>
                    <a:pt x="1162" y="2"/>
                  </a:cubicBezTo>
                  <a:cubicBezTo>
                    <a:pt x="1248" y="0"/>
                    <a:pt x="1248" y="0"/>
                    <a:pt x="1248" y="0"/>
                  </a:cubicBezTo>
                  <a:cubicBezTo>
                    <a:pt x="1237" y="60"/>
                    <a:pt x="1231" y="106"/>
                    <a:pt x="1229" y="138"/>
                  </a:cubicBezTo>
                  <a:cubicBezTo>
                    <a:pt x="1216" y="233"/>
                    <a:pt x="1205" y="383"/>
                    <a:pt x="1205" y="493"/>
                  </a:cubicBezTo>
                  <a:cubicBezTo>
                    <a:pt x="1203" y="778"/>
                    <a:pt x="1203" y="778"/>
                    <a:pt x="1203" y="778"/>
                  </a:cubicBezTo>
                  <a:cubicBezTo>
                    <a:pt x="1200" y="989"/>
                    <a:pt x="1211" y="1117"/>
                    <a:pt x="1231" y="1179"/>
                  </a:cubicBezTo>
                  <a:cubicBezTo>
                    <a:pt x="1248" y="1233"/>
                    <a:pt x="1300" y="1264"/>
                    <a:pt x="1369" y="1264"/>
                  </a:cubicBezTo>
                  <a:cubicBezTo>
                    <a:pt x="1393" y="1264"/>
                    <a:pt x="1393" y="1264"/>
                    <a:pt x="1393" y="1264"/>
                  </a:cubicBezTo>
                  <a:lnTo>
                    <a:pt x="1337" y="1376"/>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1" name="Freeform 32"/>
            <p:cNvSpPr>
              <a:spLocks noChangeArrowheads="1"/>
            </p:cNvSpPr>
            <p:nvPr/>
          </p:nvSpPr>
          <p:spPr bwMode="auto">
            <a:xfrm>
              <a:off x="7558088" y="1722437"/>
              <a:ext cx="434975" cy="458787"/>
            </a:xfrm>
            <a:custGeom>
              <a:avLst/>
              <a:gdLst>
                <a:gd name="T0" fmla="*/ 698 w 1413"/>
                <a:gd name="T1" fmla="*/ 132 h 1487"/>
                <a:gd name="T2" fmla="*/ 698 w 1413"/>
                <a:gd name="T3" fmla="*/ 132 h 1487"/>
                <a:gd name="T4" fmla="*/ 648 w 1413"/>
                <a:gd name="T5" fmla="*/ 134 h 1487"/>
                <a:gd name="T6" fmla="*/ 279 w 1413"/>
                <a:gd name="T7" fmla="*/ 709 h 1487"/>
                <a:gd name="T8" fmla="*/ 713 w 1413"/>
                <a:gd name="T9" fmla="*/ 1357 h 1487"/>
                <a:gd name="T10" fmla="*/ 1134 w 1413"/>
                <a:gd name="T11" fmla="*/ 778 h 1487"/>
                <a:gd name="T12" fmla="*/ 698 w 1413"/>
                <a:gd name="T13" fmla="*/ 132 h 1487"/>
                <a:gd name="T14" fmla="*/ 672 w 1413"/>
                <a:gd name="T15" fmla="*/ 1486 h 1487"/>
                <a:gd name="T16" fmla="*/ 672 w 1413"/>
                <a:gd name="T17" fmla="*/ 1486 h 1487"/>
                <a:gd name="T18" fmla="*/ 0 w 1413"/>
                <a:gd name="T19" fmla="*/ 767 h 1487"/>
                <a:gd name="T20" fmla="*/ 696 w 1413"/>
                <a:gd name="T21" fmla="*/ 2 h 1487"/>
                <a:gd name="T22" fmla="*/ 745 w 1413"/>
                <a:gd name="T23" fmla="*/ 0 h 1487"/>
                <a:gd name="T24" fmla="*/ 1412 w 1413"/>
                <a:gd name="T25" fmla="*/ 713 h 1487"/>
                <a:gd name="T26" fmla="*/ 672 w 1413"/>
                <a:gd name="T27" fmla="*/ 1486 h 1487"/>
                <a:gd name="T28" fmla="*/ 698 w 1413"/>
                <a:gd name="T29" fmla="*/ 132 h 1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13" h="1487">
                  <a:moveTo>
                    <a:pt x="698" y="132"/>
                  </a:moveTo>
                  <a:lnTo>
                    <a:pt x="698" y="132"/>
                  </a:lnTo>
                  <a:cubicBezTo>
                    <a:pt x="682" y="132"/>
                    <a:pt x="665" y="132"/>
                    <a:pt x="648" y="134"/>
                  </a:cubicBezTo>
                  <a:cubicBezTo>
                    <a:pt x="413" y="169"/>
                    <a:pt x="279" y="382"/>
                    <a:pt x="279" y="709"/>
                  </a:cubicBezTo>
                  <a:cubicBezTo>
                    <a:pt x="279" y="1095"/>
                    <a:pt x="454" y="1357"/>
                    <a:pt x="713" y="1357"/>
                  </a:cubicBezTo>
                  <a:cubicBezTo>
                    <a:pt x="966" y="1357"/>
                    <a:pt x="1134" y="1124"/>
                    <a:pt x="1134" y="778"/>
                  </a:cubicBezTo>
                  <a:cubicBezTo>
                    <a:pt x="1134" y="393"/>
                    <a:pt x="957" y="132"/>
                    <a:pt x="698" y="132"/>
                  </a:cubicBezTo>
                  <a:lnTo>
                    <a:pt x="672" y="1486"/>
                  </a:lnTo>
                  <a:lnTo>
                    <a:pt x="672" y="1486"/>
                  </a:lnTo>
                  <a:cubicBezTo>
                    <a:pt x="264" y="1486"/>
                    <a:pt x="0" y="1204"/>
                    <a:pt x="0" y="767"/>
                  </a:cubicBezTo>
                  <a:cubicBezTo>
                    <a:pt x="0" y="329"/>
                    <a:pt x="281" y="20"/>
                    <a:pt x="696" y="2"/>
                  </a:cubicBezTo>
                  <a:cubicBezTo>
                    <a:pt x="713" y="0"/>
                    <a:pt x="728" y="0"/>
                    <a:pt x="745" y="0"/>
                  </a:cubicBezTo>
                  <a:cubicBezTo>
                    <a:pt x="1156" y="0"/>
                    <a:pt x="1412" y="275"/>
                    <a:pt x="1412" y="713"/>
                  </a:cubicBezTo>
                  <a:cubicBezTo>
                    <a:pt x="1412" y="1167"/>
                    <a:pt x="1108" y="1486"/>
                    <a:pt x="672" y="1486"/>
                  </a:cubicBezTo>
                  <a:lnTo>
                    <a:pt x="698" y="132"/>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2" name="Freeform 33"/>
            <p:cNvSpPr>
              <a:spLocks noChangeArrowheads="1"/>
            </p:cNvSpPr>
            <p:nvPr/>
          </p:nvSpPr>
          <p:spPr bwMode="auto">
            <a:xfrm>
              <a:off x="6888163" y="1547812"/>
              <a:ext cx="598487" cy="619125"/>
            </a:xfrm>
            <a:custGeom>
              <a:avLst/>
              <a:gdLst>
                <a:gd name="T0" fmla="*/ 1864 w 1939"/>
                <a:gd name="T1" fmla="*/ 1998 h 2005"/>
                <a:gd name="T2" fmla="*/ 1864 w 1939"/>
                <a:gd name="T3" fmla="*/ 1998 h 2005"/>
                <a:gd name="T4" fmla="*/ 1654 w 1939"/>
                <a:gd name="T5" fmla="*/ 1998 h 2005"/>
                <a:gd name="T6" fmla="*/ 1574 w 1939"/>
                <a:gd name="T7" fmla="*/ 2004 h 2005"/>
                <a:gd name="T8" fmla="*/ 1590 w 1939"/>
                <a:gd name="T9" fmla="*/ 1875 h 2005"/>
                <a:gd name="T10" fmla="*/ 1609 w 1939"/>
                <a:gd name="T11" fmla="*/ 1668 h 2005"/>
                <a:gd name="T12" fmla="*/ 1611 w 1939"/>
                <a:gd name="T13" fmla="*/ 1458 h 2005"/>
                <a:gd name="T14" fmla="*/ 1614 w 1939"/>
                <a:gd name="T15" fmla="*/ 1030 h 2005"/>
                <a:gd name="T16" fmla="*/ 1439 w 1939"/>
                <a:gd name="T17" fmla="*/ 1026 h 2005"/>
                <a:gd name="T18" fmla="*/ 1156 w 1939"/>
                <a:gd name="T19" fmla="*/ 1019 h 2005"/>
                <a:gd name="T20" fmla="*/ 860 w 1939"/>
                <a:gd name="T21" fmla="*/ 1019 h 2005"/>
                <a:gd name="T22" fmla="*/ 650 w 1939"/>
                <a:gd name="T23" fmla="*/ 1026 h 2005"/>
                <a:gd name="T24" fmla="*/ 458 w 1939"/>
                <a:gd name="T25" fmla="*/ 1030 h 2005"/>
                <a:gd name="T26" fmla="*/ 458 w 1939"/>
                <a:gd name="T27" fmla="*/ 1462 h 2005"/>
                <a:gd name="T28" fmla="*/ 516 w 1939"/>
                <a:gd name="T29" fmla="*/ 2004 h 2005"/>
                <a:gd name="T30" fmla="*/ 441 w 1939"/>
                <a:gd name="T31" fmla="*/ 1998 h 2005"/>
                <a:gd name="T32" fmla="*/ 231 w 1939"/>
                <a:gd name="T33" fmla="*/ 1998 h 2005"/>
                <a:gd name="T34" fmla="*/ 151 w 1939"/>
                <a:gd name="T35" fmla="*/ 2004 h 2005"/>
                <a:gd name="T36" fmla="*/ 168 w 1939"/>
                <a:gd name="T37" fmla="*/ 1875 h 2005"/>
                <a:gd name="T38" fmla="*/ 188 w 1939"/>
                <a:gd name="T39" fmla="*/ 1458 h 2005"/>
                <a:gd name="T40" fmla="*/ 190 w 1939"/>
                <a:gd name="T41" fmla="*/ 512 h 2005"/>
                <a:gd name="T42" fmla="*/ 171 w 1939"/>
                <a:gd name="T43" fmla="*/ 212 h 2005"/>
                <a:gd name="T44" fmla="*/ 30 w 1939"/>
                <a:gd name="T45" fmla="*/ 123 h 2005"/>
                <a:gd name="T46" fmla="*/ 0 w 1939"/>
                <a:gd name="T47" fmla="*/ 123 h 2005"/>
                <a:gd name="T48" fmla="*/ 56 w 1939"/>
                <a:gd name="T49" fmla="*/ 2 h 2005"/>
                <a:gd name="T50" fmla="*/ 127 w 1939"/>
                <a:gd name="T51" fmla="*/ 6 h 2005"/>
                <a:gd name="T52" fmla="*/ 395 w 1939"/>
                <a:gd name="T53" fmla="*/ 6 h 2005"/>
                <a:gd name="T54" fmla="*/ 484 w 1939"/>
                <a:gd name="T55" fmla="*/ 0 h 2005"/>
                <a:gd name="T56" fmla="*/ 467 w 1939"/>
                <a:gd name="T57" fmla="*/ 212 h 2005"/>
                <a:gd name="T58" fmla="*/ 460 w 1939"/>
                <a:gd name="T59" fmla="*/ 520 h 2005"/>
                <a:gd name="T60" fmla="*/ 460 w 1939"/>
                <a:gd name="T61" fmla="*/ 836 h 2005"/>
                <a:gd name="T62" fmla="*/ 650 w 1939"/>
                <a:gd name="T63" fmla="*/ 840 h 2005"/>
                <a:gd name="T64" fmla="*/ 860 w 1939"/>
                <a:gd name="T65" fmla="*/ 849 h 2005"/>
                <a:gd name="T66" fmla="*/ 972 w 1939"/>
                <a:gd name="T67" fmla="*/ 849 h 2005"/>
                <a:gd name="T68" fmla="*/ 1439 w 1939"/>
                <a:gd name="T69" fmla="*/ 840 h 2005"/>
                <a:gd name="T70" fmla="*/ 1614 w 1939"/>
                <a:gd name="T71" fmla="*/ 836 h 2005"/>
                <a:gd name="T72" fmla="*/ 1614 w 1939"/>
                <a:gd name="T73" fmla="*/ 546 h 2005"/>
                <a:gd name="T74" fmla="*/ 1557 w 1939"/>
                <a:gd name="T75" fmla="*/ 2 h 2005"/>
                <a:gd name="T76" fmla="*/ 1629 w 1939"/>
                <a:gd name="T77" fmla="*/ 6 h 2005"/>
                <a:gd name="T78" fmla="*/ 1816 w 1939"/>
                <a:gd name="T79" fmla="*/ 6 h 2005"/>
                <a:gd name="T80" fmla="*/ 1907 w 1939"/>
                <a:gd name="T81" fmla="*/ 2 h 2005"/>
                <a:gd name="T82" fmla="*/ 1890 w 1939"/>
                <a:gd name="T83" fmla="*/ 212 h 2005"/>
                <a:gd name="T84" fmla="*/ 1884 w 1939"/>
                <a:gd name="T85" fmla="*/ 523 h 2005"/>
                <a:gd name="T86" fmla="*/ 1881 w 1939"/>
                <a:gd name="T87" fmla="*/ 1462 h 2005"/>
                <a:gd name="T88" fmla="*/ 1938 w 1939"/>
                <a:gd name="T89" fmla="*/ 2004 h 2005"/>
                <a:gd name="T90" fmla="*/ 1864 w 1939"/>
                <a:gd name="T91" fmla="*/ 1998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39" h="2005">
                  <a:moveTo>
                    <a:pt x="1864" y="1998"/>
                  </a:moveTo>
                  <a:lnTo>
                    <a:pt x="1864" y="1998"/>
                  </a:lnTo>
                  <a:cubicBezTo>
                    <a:pt x="1654" y="1998"/>
                    <a:pt x="1654" y="1998"/>
                    <a:pt x="1654" y="1998"/>
                  </a:cubicBezTo>
                  <a:cubicBezTo>
                    <a:pt x="1574" y="2004"/>
                    <a:pt x="1574" y="2004"/>
                    <a:pt x="1574" y="2004"/>
                  </a:cubicBezTo>
                  <a:cubicBezTo>
                    <a:pt x="1583" y="1948"/>
                    <a:pt x="1588" y="1903"/>
                    <a:pt x="1590" y="1875"/>
                  </a:cubicBezTo>
                  <a:cubicBezTo>
                    <a:pt x="1600" y="1808"/>
                    <a:pt x="1605" y="1739"/>
                    <a:pt x="1609" y="1668"/>
                  </a:cubicBezTo>
                  <a:cubicBezTo>
                    <a:pt x="1609" y="1659"/>
                    <a:pt x="1611" y="1590"/>
                    <a:pt x="1611" y="1458"/>
                  </a:cubicBezTo>
                  <a:cubicBezTo>
                    <a:pt x="1614" y="1030"/>
                    <a:pt x="1614" y="1030"/>
                    <a:pt x="1614" y="1030"/>
                  </a:cubicBezTo>
                  <a:cubicBezTo>
                    <a:pt x="1439" y="1026"/>
                    <a:pt x="1439" y="1026"/>
                    <a:pt x="1439" y="1026"/>
                  </a:cubicBezTo>
                  <a:cubicBezTo>
                    <a:pt x="1156" y="1019"/>
                    <a:pt x="1156" y="1019"/>
                    <a:pt x="1156" y="1019"/>
                  </a:cubicBezTo>
                  <a:cubicBezTo>
                    <a:pt x="860" y="1019"/>
                    <a:pt x="860" y="1019"/>
                    <a:pt x="860" y="1019"/>
                  </a:cubicBezTo>
                  <a:cubicBezTo>
                    <a:pt x="650" y="1026"/>
                    <a:pt x="650" y="1026"/>
                    <a:pt x="650" y="1026"/>
                  </a:cubicBezTo>
                  <a:cubicBezTo>
                    <a:pt x="458" y="1030"/>
                    <a:pt x="458" y="1030"/>
                    <a:pt x="458" y="1030"/>
                  </a:cubicBezTo>
                  <a:cubicBezTo>
                    <a:pt x="458" y="1462"/>
                    <a:pt x="458" y="1462"/>
                    <a:pt x="458" y="1462"/>
                  </a:cubicBezTo>
                  <a:cubicBezTo>
                    <a:pt x="458" y="1722"/>
                    <a:pt x="475" y="1881"/>
                    <a:pt x="516" y="2004"/>
                  </a:cubicBezTo>
                  <a:cubicBezTo>
                    <a:pt x="441" y="1998"/>
                    <a:pt x="441" y="1998"/>
                    <a:pt x="441" y="1998"/>
                  </a:cubicBezTo>
                  <a:cubicBezTo>
                    <a:pt x="231" y="1998"/>
                    <a:pt x="231" y="1998"/>
                    <a:pt x="231" y="1998"/>
                  </a:cubicBezTo>
                  <a:cubicBezTo>
                    <a:pt x="151" y="2004"/>
                    <a:pt x="151" y="2004"/>
                    <a:pt x="151" y="2004"/>
                  </a:cubicBezTo>
                  <a:cubicBezTo>
                    <a:pt x="158" y="1948"/>
                    <a:pt x="164" y="1903"/>
                    <a:pt x="168" y="1875"/>
                  </a:cubicBezTo>
                  <a:cubicBezTo>
                    <a:pt x="184" y="1752"/>
                    <a:pt x="188" y="1722"/>
                    <a:pt x="188" y="1458"/>
                  </a:cubicBezTo>
                  <a:cubicBezTo>
                    <a:pt x="190" y="512"/>
                    <a:pt x="190" y="512"/>
                    <a:pt x="190" y="512"/>
                  </a:cubicBezTo>
                  <a:cubicBezTo>
                    <a:pt x="190" y="371"/>
                    <a:pt x="184" y="270"/>
                    <a:pt x="171" y="212"/>
                  </a:cubicBezTo>
                  <a:cubicBezTo>
                    <a:pt x="156" y="153"/>
                    <a:pt x="114" y="123"/>
                    <a:pt x="30" y="123"/>
                  </a:cubicBezTo>
                  <a:cubicBezTo>
                    <a:pt x="0" y="123"/>
                    <a:pt x="0" y="123"/>
                    <a:pt x="0" y="123"/>
                  </a:cubicBezTo>
                  <a:cubicBezTo>
                    <a:pt x="56" y="2"/>
                    <a:pt x="56" y="2"/>
                    <a:pt x="56" y="2"/>
                  </a:cubicBezTo>
                  <a:cubicBezTo>
                    <a:pt x="127" y="6"/>
                    <a:pt x="127" y="6"/>
                    <a:pt x="127" y="6"/>
                  </a:cubicBezTo>
                  <a:cubicBezTo>
                    <a:pt x="395" y="6"/>
                    <a:pt x="395" y="6"/>
                    <a:pt x="395" y="6"/>
                  </a:cubicBezTo>
                  <a:cubicBezTo>
                    <a:pt x="484" y="0"/>
                    <a:pt x="484" y="0"/>
                    <a:pt x="484" y="0"/>
                  </a:cubicBezTo>
                  <a:cubicBezTo>
                    <a:pt x="475" y="95"/>
                    <a:pt x="469" y="164"/>
                    <a:pt x="467" y="212"/>
                  </a:cubicBezTo>
                  <a:cubicBezTo>
                    <a:pt x="464" y="253"/>
                    <a:pt x="460" y="356"/>
                    <a:pt x="460" y="520"/>
                  </a:cubicBezTo>
                  <a:cubicBezTo>
                    <a:pt x="460" y="836"/>
                    <a:pt x="460" y="836"/>
                    <a:pt x="460" y="836"/>
                  </a:cubicBezTo>
                  <a:cubicBezTo>
                    <a:pt x="650" y="840"/>
                    <a:pt x="650" y="840"/>
                    <a:pt x="650" y="840"/>
                  </a:cubicBezTo>
                  <a:cubicBezTo>
                    <a:pt x="860" y="849"/>
                    <a:pt x="860" y="849"/>
                    <a:pt x="860" y="849"/>
                  </a:cubicBezTo>
                  <a:cubicBezTo>
                    <a:pt x="972" y="849"/>
                    <a:pt x="972" y="849"/>
                    <a:pt x="972" y="849"/>
                  </a:cubicBezTo>
                  <a:cubicBezTo>
                    <a:pt x="1087" y="849"/>
                    <a:pt x="1156" y="845"/>
                    <a:pt x="1439" y="840"/>
                  </a:cubicBezTo>
                  <a:cubicBezTo>
                    <a:pt x="1614" y="836"/>
                    <a:pt x="1614" y="836"/>
                    <a:pt x="1614" y="836"/>
                  </a:cubicBezTo>
                  <a:cubicBezTo>
                    <a:pt x="1614" y="546"/>
                    <a:pt x="1614" y="546"/>
                    <a:pt x="1614" y="546"/>
                  </a:cubicBezTo>
                  <a:cubicBezTo>
                    <a:pt x="1614" y="285"/>
                    <a:pt x="1598" y="127"/>
                    <a:pt x="1557" y="2"/>
                  </a:cubicBezTo>
                  <a:cubicBezTo>
                    <a:pt x="1629" y="6"/>
                    <a:pt x="1629" y="6"/>
                    <a:pt x="1629" y="6"/>
                  </a:cubicBezTo>
                  <a:cubicBezTo>
                    <a:pt x="1816" y="6"/>
                    <a:pt x="1816" y="6"/>
                    <a:pt x="1816" y="6"/>
                  </a:cubicBezTo>
                  <a:cubicBezTo>
                    <a:pt x="1907" y="2"/>
                    <a:pt x="1907" y="2"/>
                    <a:pt x="1907" y="2"/>
                  </a:cubicBezTo>
                  <a:cubicBezTo>
                    <a:pt x="1899" y="95"/>
                    <a:pt x="1894" y="166"/>
                    <a:pt x="1890" y="212"/>
                  </a:cubicBezTo>
                  <a:cubicBezTo>
                    <a:pt x="1888" y="261"/>
                    <a:pt x="1884" y="365"/>
                    <a:pt x="1884" y="523"/>
                  </a:cubicBezTo>
                  <a:cubicBezTo>
                    <a:pt x="1881" y="1462"/>
                    <a:pt x="1881" y="1462"/>
                    <a:pt x="1881" y="1462"/>
                  </a:cubicBezTo>
                  <a:cubicBezTo>
                    <a:pt x="1881" y="1722"/>
                    <a:pt x="1899" y="1881"/>
                    <a:pt x="1938" y="2004"/>
                  </a:cubicBezTo>
                  <a:lnTo>
                    <a:pt x="1864" y="1998"/>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3" name="Freeform 34"/>
            <p:cNvSpPr>
              <a:spLocks noChangeArrowheads="1"/>
            </p:cNvSpPr>
            <p:nvPr/>
          </p:nvSpPr>
          <p:spPr bwMode="auto">
            <a:xfrm>
              <a:off x="5868988" y="1731962"/>
              <a:ext cx="434975" cy="434975"/>
            </a:xfrm>
            <a:custGeom>
              <a:avLst/>
              <a:gdLst>
                <a:gd name="T0" fmla="*/ 1332 w 1409"/>
                <a:gd name="T1" fmla="*/ 1402 h 1409"/>
                <a:gd name="T2" fmla="*/ 1332 w 1409"/>
                <a:gd name="T3" fmla="*/ 1402 h 1409"/>
                <a:gd name="T4" fmla="*/ 1160 w 1409"/>
                <a:gd name="T5" fmla="*/ 1402 h 1409"/>
                <a:gd name="T6" fmla="*/ 1078 w 1409"/>
                <a:gd name="T7" fmla="*/ 1408 h 1409"/>
                <a:gd name="T8" fmla="*/ 1099 w 1409"/>
                <a:gd name="T9" fmla="*/ 1279 h 1409"/>
                <a:gd name="T10" fmla="*/ 1118 w 1409"/>
                <a:gd name="T11" fmla="*/ 862 h 1409"/>
                <a:gd name="T12" fmla="*/ 1118 w 1409"/>
                <a:gd name="T13" fmla="*/ 652 h 1409"/>
                <a:gd name="T14" fmla="*/ 1088 w 1409"/>
                <a:gd name="T15" fmla="*/ 385 h 1409"/>
                <a:gd name="T16" fmla="*/ 807 w 1409"/>
                <a:gd name="T17" fmla="*/ 203 h 1409"/>
                <a:gd name="T18" fmla="*/ 527 w 1409"/>
                <a:gd name="T19" fmla="*/ 313 h 1409"/>
                <a:gd name="T20" fmla="*/ 401 w 1409"/>
                <a:gd name="T21" fmla="*/ 681 h 1409"/>
                <a:gd name="T22" fmla="*/ 401 w 1409"/>
                <a:gd name="T23" fmla="*/ 866 h 1409"/>
                <a:gd name="T24" fmla="*/ 458 w 1409"/>
                <a:gd name="T25" fmla="*/ 1408 h 1409"/>
                <a:gd name="T26" fmla="*/ 386 w 1409"/>
                <a:gd name="T27" fmla="*/ 1402 h 1409"/>
                <a:gd name="T28" fmla="*/ 211 w 1409"/>
                <a:gd name="T29" fmla="*/ 1402 h 1409"/>
                <a:gd name="T30" fmla="*/ 131 w 1409"/>
                <a:gd name="T31" fmla="*/ 1408 h 1409"/>
                <a:gd name="T32" fmla="*/ 151 w 1409"/>
                <a:gd name="T33" fmla="*/ 1279 h 1409"/>
                <a:gd name="T34" fmla="*/ 168 w 1409"/>
                <a:gd name="T35" fmla="*/ 862 h 1409"/>
                <a:gd name="T36" fmla="*/ 170 w 1409"/>
                <a:gd name="T37" fmla="*/ 545 h 1409"/>
                <a:gd name="T38" fmla="*/ 151 w 1409"/>
                <a:gd name="T39" fmla="*/ 246 h 1409"/>
                <a:gd name="T40" fmla="*/ 24 w 1409"/>
                <a:gd name="T41" fmla="*/ 158 h 1409"/>
                <a:gd name="T42" fmla="*/ 0 w 1409"/>
                <a:gd name="T43" fmla="*/ 158 h 1409"/>
                <a:gd name="T44" fmla="*/ 56 w 1409"/>
                <a:gd name="T45" fmla="*/ 45 h 1409"/>
                <a:gd name="T46" fmla="*/ 127 w 1409"/>
                <a:gd name="T47" fmla="*/ 45 h 1409"/>
                <a:gd name="T48" fmla="*/ 300 w 1409"/>
                <a:gd name="T49" fmla="*/ 33 h 1409"/>
                <a:gd name="T50" fmla="*/ 391 w 1409"/>
                <a:gd name="T51" fmla="*/ 26 h 1409"/>
                <a:gd name="T52" fmla="*/ 386 w 1409"/>
                <a:gd name="T53" fmla="*/ 277 h 1409"/>
                <a:gd name="T54" fmla="*/ 501 w 1409"/>
                <a:gd name="T55" fmla="*/ 180 h 1409"/>
                <a:gd name="T56" fmla="*/ 930 w 1409"/>
                <a:gd name="T57" fmla="*/ 0 h 1409"/>
                <a:gd name="T58" fmla="*/ 1293 w 1409"/>
                <a:gd name="T59" fmla="*/ 190 h 1409"/>
                <a:gd name="T60" fmla="*/ 1337 w 1409"/>
                <a:gd name="T61" fmla="*/ 318 h 1409"/>
                <a:gd name="T62" fmla="*/ 1350 w 1409"/>
                <a:gd name="T63" fmla="*/ 540 h 1409"/>
                <a:gd name="T64" fmla="*/ 1350 w 1409"/>
                <a:gd name="T65" fmla="*/ 866 h 1409"/>
                <a:gd name="T66" fmla="*/ 1408 w 1409"/>
                <a:gd name="T67" fmla="*/ 1408 h 1409"/>
                <a:gd name="T68" fmla="*/ 1332 w 1409"/>
                <a:gd name="T69" fmla="*/ 1402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09" h="1409">
                  <a:moveTo>
                    <a:pt x="1332" y="1402"/>
                  </a:moveTo>
                  <a:lnTo>
                    <a:pt x="1332" y="1402"/>
                  </a:lnTo>
                  <a:cubicBezTo>
                    <a:pt x="1160" y="1402"/>
                    <a:pt x="1160" y="1402"/>
                    <a:pt x="1160" y="1402"/>
                  </a:cubicBezTo>
                  <a:cubicBezTo>
                    <a:pt x="1078" y="1408"/>
                    <a:pt x="1078" y="1408"/>
                    <a:pt x="1078" y="1408"/>
                  </a:cubicBezTo>
                  <a:cubicBezTo>
                    <a:pt x="1088" y="1352"/>
                    <a:pt x="1097" y="1307"/>
                    <a:pt x="1099" y="1279"/>
                  </a:cubicBezTo>
                  <a:cubicBezTo>
                    <a:pt x="1108" y="1210"/>
                    <a:pt x="1118" y="1035"/>
                    <a:pt x="1118" y="862"/>
                  </a:cubicBezTo>
                  <a:cubicBezTo>
                    <a:pt x="1118" y="652"/>
                    <a:pt x="1118" y="652"/>
                    <a:pt x="1118" y="652"/>
                  </a:cubicBezTo>
                  <a:cubicBezTo>
                    <a:pt x="1118" y="529"/>
                    <a:pt x="1108" y="443"/>
                    <a:pt x="1088" y="385"/>
                  </a:cubicBezTo>
                  <a:cubicBezTo>
                    <a:pt x="1051" y="275"/>
                    <a:pt x="939" y="203"/>
                    <a:pt x="807" y="203"/>
                  </a:cubicBezTo>
                  <a:cubicBezTo>
                    <a:pt x="708" y="203"/>
                    <a:pt x="605" y="240"/>
                    <a:pt x="527" y="313"/>
                  </a:cubicBezTo>
                  <a:cubicBezTo>
                    <a:pt x="429" y="398"/>
                    <a:pt x="401" y="480"/>
                    <a:pt x="401" y="681"/>
                  </a:cubicBezTo>
                  <a:cubicBezTo>
                    <a:pt x="401" y="866"/>
                    <a:pt x="401" y="866"/>
                    <a:pt x="401" y="866"/>
                  </a:cubicBezTo>
                  <a:cubicBezTo>
                    <a:pt x="401" y="1126"/>
                    <a:pt x="417" y="1285"/>
                    <a:pt x="458" y="1408"/>
                  </a:cubicBezTo>
                  <a:cubicBezTo>
                    <a:pt x="386" y="1402"/>
                    <a:pt x="386" y="1402"/>
                    <a:pt x="386" y="1402"/>
                  </a:cubicBezTo>
                  <a:cubicBezTo>
                    <a:pt x="211" y="1402"/>
                    <a:pt x="211" y="1402"/>
                    <a:pt x="211" y="1402"/>
                  </a:cubicBezTo>
                  <a:cubicBezTo>
                    <a:pt x="131" y="1408"/>
                    <a:pt x="131" y="1408"/>
                    <a:pt x="131" y="1408"/>
                  </a:cubicBezTo>
                  <a:cubicBezTo>
                    <a:pt x="142" y="1352"/>
                    <a:pt x="147" y="1307"/>
                    <a:pt x="151" y="1279"/>
                  </a:cubicBezTo>
                  <a:cubicBezTo>
                    <a:pt x="159" y="1210"/>
                    <a:pt x="168" y="1015"/>
                    <a:pt x="168" y="862"/>
                  </a:cubicBezTo>
                  <a:cubicBezTo>
                    <a:pt x="170" y="545"/>
                    <a:pt x="170" y="545"/>
                    <a:pt x="170" y="545"/>
                  </a:cubicBezTo>
                  <a:cubicBezTo>
                    <a:pt x="170" y="404"/>
                    <a:pt x="162" y="303"/>
                    <a:pt x="151" y="246"/>
                  </a:cubicBezTo>
                  <a:cubicBezTo>
                    <a:pt x="136" y="186"/>
                    <a:pt x="93" y="158"/>
                    <a:pt x="24" y="158"/>
                  </a:cubicBezTo>
                  <a:cubicBezTo>
                    <a:pt x="0" y="158"/>
                    <a:pt x="0" y="158"/>
                    <a:pt x="0" y="158"/>
                  </a:cubicBezTo>
                  <a:cubicBezTo>
                    <a:pt x="56" y="45"/>
                    <a:pt x="56" y="45"/>
                    <a:pt x="56" y="45"/>
                  </a:cubicBezTo>
                  <a:cubicBezTo>
                    <a:pt x="127" y="45"/>
                    <a:pt x="127" y="45"/>
                    <a:pt x="127" y="45"/>
                  </a:cubicBezTo>
                  <a:cubicBezTo>
                    <a:pt x="300" y="33"/>
                    <a:pt x="300" y="33"/>
                    <a:pt x="300" y="33"/>
                  </a:cubicBezTo>
                  <a:cubicBezTo>
                    <a:pt x="391" y="26"/>
                    <a:pt x="391" y="26"/>
                    <a:pt x="391" y="26"/>
                  </a:cubicBezTo>
                  <a:cubicBezTo>
                    <a:pt x="386" y="277"/>
                    <a:pt x="386" y="277"/>
                    <a:pt x="386" y="277"/>
                  </a:cubicBezTo>
                  <a:cubicBezTo>
                    <a:pt x="501" y="180"/>
                    <a:pt x="501" y="180"/>
                    <a:pt x="501" y="180"/>
                  </a:cubicBezTo>
                  <a:cubicBezTo>
                    <a:pt x="656" y="48"/>
                    <a:pt x="782" y="0"/>
                    <a:pt x="930" y="0"/>
                  </a:cubicBezTo>
                  <a:cubicBezTo>
                    <a:pt x="1092" y="0"/>
                    <a:pt x="1220" y="69"/>
                    <a:pt x="1293" y="190"/>
                  </a:cubicBezTo>
                  <a:cubicBezTo>
                    <a:pt x="1315" y="229"/>
                    <a:pt x="1330" y="272"/>
                    <a:pt x="1337" y="318"/>
                  </a:cubicBezTo>
                  <a:cubicBezTo>
                    <a:pt x="1350" y="380"/>
                    <a:pt x="1350" y="409"/>
                    <a:pt x="1350" y="540"/>
                  </a:cubicBezTo>
                  <a:cubicBezTo>
                    <a:pt x="1350" y="866"/>
                    <a:pt x="1350" y="866"/>
                    <a:pt x="1350" y="866"/>
                  </a:cubicBezTo>
                  <a:cubicBezTo>
                    <a:pt x="1350" y="1126"/>
                    <a:pt x="1367" y="1285"/>
                    <a:pt x="1408" y="1408"/>
                  </a:cubicBezTo>
                  <a:lnTo>
                    <a:pt x="1332" y="1402"/>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4" name="Freeform 35"/>
            <p:cNvSpPr>
              <a:spLocks noChangeArrowheads="1"/>
            </p:cNvSpPr>
            <p:nvPr/>
          </p:nvSpPr>
          <p:spPr bwMode="auto">
            <a:xfrm>
              <a:off x="5656263" y="1739899"/>
              <a:ext cx="141287" cy="427038"/>
            </a:xfrm>
            <a:custGeom>
              <a:avLst/>
              <a:gdLst>
                <a:gd name="T0" fmla="*/ 386 w 459"/>
                <a:gd name="T1" fmla="*/ 1376 h 1383"/>
                <a:gd name="T2" fmla="*/ 386 w 459"/>
                <a:gd name="T3" fmla="*/ 1376 h 1383"/>
                <a:gd name="T4" fmla="*/ 211 w 459"/>
                <a:gd name="T5" fmla="*/ 1376 h 1383"/>
                <a:gd name="T6" fmla="*/ 130 w 459"/>
                <a:gd name="T7" fmla="*/ 1382 h 1383"/>
                <a:gd name="T8" fmla="*/ 149 w 459"/>
                <a:gd name="T9" fmla="*/ 1253 h 1383"/>
                <a:gd name="T10" fmla="*/ 168 w 459"/>
                <a:gd name="T11" fmla="*/ 836 h 1383"/>
                <a:gd name="T12" fmla="*/ 170 w 459"/>
                <a:gd name="T13" fmla="*/ 519 h 1383"/>
                <a:gd name="T14" fmla="*/ 149 w 459"/>
                <a:gd name="T15" fmla="*/ 220 h 1383"/>
                <a:gd name="T16" fmla="*/ 22 w 459"/>
                <a:gd name="T17" fmla="*/ 132 h 1383"/>
                <a:gd name="T18" fmla="*/ 0 w 459"/>
                <a:gd name="T19" fmla="*/ 132 h 1383"/>
                <a:gd name="T20" fmla="*/ 56 w 459"/>
                <a:gd name="T21" fmla="*/ 19 h 1383"/>
                <a:gd name="T22" fmla="*/ 127 w 459"/>
                <a:gd name="T23" fmla="*/ 17 h 1383"/>
                <a:gd name="T24" fmla="*/ 337 w 459"/>
                <a:gd name="T25" fmla="*/ 5 h 1383"/>
                <a:gd name="T26" fmla="*/ 427 w 459"/>
                <a:gd name="T27" fmla="*/ 0 h 1383"/>
                <a:gd name="T28" fmla="*/ 402 w 459"/>
                <a:gd name="T29" fmla="*/ 478 h 1383"/>
                <a:gd name="T30" fmla="*/ 401 w 459"/>
                <a:gd name="T31" fmla="*/ 840 h 1383"/>
                <a:gd name="T32" fmla="*/ 458 w 459"/>
                <a:gd name="T33" fmla="*/ 1382 h 1383"/>
                <a:gd name="T34" fmla="*/ 386 w 459"/>
                <a:gd name="T35" fmla="*/ 1376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9" h="1383">
                  <a:moveTo>
                    <a:pt x="386" y="1376"/>
                  </a:moveTo>
                  <a:lnTo>
                    <a:pt x="386" y="1376"/>
                  </a:lnTo>
                  <a:cubicBezTo>
                    <a:pt x="211" y="1376"/>
                    <a:pt x="211" y="1376"/>
                    <a:pt x="211" y="1376"/>
                  </a:cubicBezTo>
                  <a:cubicBezTo>
                    <a:pt x="130" y="1382"/>
                    <a:pt x="130" y="1382"/>
                    <a:pt x="130" y="1382"/>
                  </a:cubicBezTo>
                  <a:cubicBezTo>
                    <a:pt x="142" y="1326"/>
                    <a:pt x="147" y="1281"/>
                    <a:pt x="149" y="1253"/>
                  </a:cubicBezTo>
                  <a:cubicBezTo>
                    <a:pt x="158" y="1184"/>
                    <a:pt x="168" y="989"/>
                    <a:pt x="168" y="836"/>
                  </a:cubicBezTo>
                  <a:cubicBezTo>
                    <a:pt x="170" y="519"/>
                    <a:pt x="170" y="519"/>
                    <a:pt x="170" y="519"/>
                  </a:cubicBezTo>
                  <a:cubicBezTo>
                    <a:pt x="170" y="378"/>
                    <a:pt x="162" y="277"/>
                    <a:pt x="149" y="220"/>
                  </a:cubicBezTo>
                  <a:cubicBezTo>
                    <a:pt x="136" y="160"/>
                    <a:pt x="93" y="132"/>
                    <a:pt x="22" y="132"/>
                  </a:cubicBezTo>
                  <a:cubicBezTo>
                    <a:pt x="0" y="132"/>
                    <a:pt x="0" y="132"/>
                    <a:pt x="0" y="132"/>
                  </a:cubicBezTo>
                  <a:cubicBezTo>
                    <a:pt x="56" y="19"/>
                    <a:pt x="56" y="19"/>
                    <a:pt x="56" y="19"/>
                  </a:cubicBezTo>
                  <a:cubicBezTo>
                    <a:pt x="127" y="17"/>
                    <a:pt x="127" y="17"/>
                    <a:pt x="127" y="17"/>
                  </a:cubicBezTo>
                  <a:cubicBezTo>
                    <a:pt x="337" y="5"/>
                    <a:pt x="337" y="5"/>
                    <a:pt x="337" y="5"/>
                  </a:cubicBezTo>
                  <a:cubicBezTo>
                    <a:pt x="427" y="0"/>
                    <a:pt x="427" y="0"/>
                    <a:pt x="427" y="0"/>
                  </a:cubicBezTo>
                  <a:cubicBezTo>
                    <a:pt x="408" y="249"/>
                    <a:pt x="402" y="354"/>
                    <a:pt x="402" y="478"/>
                  </a:cubicBezTo>
                  <a:cubicBezTo>
                    <a:pt x="401" y="840"/>
                    <a:pt x="401" y="840"/>
                    <a:pt x="401" y="840"/>
                  </a:cubicBezTo>
                  <a:cubicBezTo>
                    <a:pt x="397" y="1100"/>
                    <a:pt x="417" y="1259"/>
                    <a:pt x="458" y="1382"/>
                  </a:cubicBezTo>
                  <a:lnTo>
                    <a:pt x="386" y="1376"/>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5" name="Freeform 36"/>
            <p:cNvSpPr>
              <a:spLocks noChangeArrowheads="1"/>
            </p:cNvSpPr>
            <p:nvPr/>
          </p:nvSpPr>
          <p:spPr bwMode="auto">
            <a:xfrm>
              <a:off x="5337175" y="1731962"/>
              <a:ext cx="295275" cy="434975"/>
            </a:xfrm>
            <a:custGeom>
              <a:avLst/>
              <a:gdLst>
                <a:gd name="T0" fmla="*/ 933 w 958"/>
                <a:gd name="T1" fmla="*/ 113 h 1409"/>
                <a:gd name="T2" fmla="*/ 933 w 958"/>
                <a:gd name="T3" fmla="*/ 113 h 1409"/>
                <a:gd name="T4" fmla="*/ 888 w 958"/>
                <a:gd name="T5" fmla="*/ 316 h 1409"/>
                <a:gd name="T6" fmla="*/ 855 w 958"/>
                <a:gd name="T7" fmla="*/ 322 h 1409"/>
                <a:gd name="T8" fmla="*/ 719 w 958"/>
                <a:gd name="T9" fmla="*/ 261 h 1409"/>
                <a:gd name="T10" fmla="*/ 484 w 958"/>
                <a:gd name="T11" fmla="*/ 423 h 1409"/>
                <a:gd name="T12" fmla="*/ 421 w 958"/>
                <a:gd name="T13" fmla="*/ 763 h 1409"/>
                <a:gd name="T14" fmla="*/ 421 w 958"/>
                <a:gd name="T15" fmla="*/ 866 h 1409"/>
                <a:gd name="T16" fmla="*/ 476 w 958"/>
                <a:gd name="T17" fmla="*/ 1408 h 1409"/>
                <a:gd name="T18" fmla="*/ 406 w 958"/>
                <a:gd name="T19" fmla="*/ 1402 h 1409"/>
                <a:gd name="T20" fmla="*/ 232 w 958"/>
                <a:gd name="T21" fmla="*/ 1402 h 1409"/>
                <a:gd name="T22" fmla="*/ 149 w 958"/>
                <a:gd name="T23" fmla="*/ 1408 h 1409"/>
                <a:gd name="T24" fmla="*/ 167 w 958"/>
                <a:gd name="T25" fmla="*/ 1279 h 1409"/>
                <a:gd name="T26" fmla="*/ 186 w 958"/>
                <a:gd name="T27" fmla="*/ 862 h 1409"/>
                <a:gd name="T28" fmla="*/ 190 w 958"/>
                <a:gd name="T29" fmla="*/ 566 h 1409"/>
                <a:gd name="T30" fmla="*/ 162 w 958"/>
                <a:gd name="T31" fmla="*/ 244 h 1409"/>
                <a:gd name="T32" fmla="*/ 22 w 958"/>
                <a:gd name="T33" fmla="*/ 158 h 1409"/>
                <a:gd name="T34" fmla="*/ 0 w 958"/>
                <a:gd name="T35" fmla="*/ 158 h 1409"/>
                <a:gd name="T36" fmla="*/ 54 w 958"/>
                <a:gd name="T37" fmla="*/ 45 h 1409"/>
                <a:gd name="T38" fmla="*/ 126 w 958"/>
                <a:gd name="T39" fmla="*/ 45 h 1409"/>
                <a:gd name="T40" fmla="*/ 281 w 958"/>
                <a:gd name="T41" fmla="*/ 33 h 1409"/>
                <a:gd name="T42" fmla="*/ 395 w 958"/>
                <a:gd name="T43" fmla="*/ 26 h 1409"/>
                <a:gd name="T44" fmla="*/ 389 w 958"/>
                <a:gd name="T45" fmla="*/ 356 h 1409"/>
                <a:gd name="T46" fmla="*/ 484 w 958"/>
                <a:gd name="T47" fmla="*/ 238 h 1409"/>
                <a:gd name="T48" fmla="*/ 849 w 958"/>
                <a:gd name="T49" fmla="*/ 0 h 1409"/>
                <a:gd name="T50" fmla="*/ 957 w 958"/>
                <a:gd name="T51" fmla="*/ 26 h 1409"/>
                <a:gd name="T52" fmla="*/ 933 w 958"/>
                <a:gd name="T53" fmla="*/ 113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58" h="1409">
                  <a:moveTo>
                    <a:pt x="933" y="113"/>
                  </a:moveTo>
                  <a:lnTo>
                    <a:pt x="933" y="113"/>
                  </a:lnTo>
                  <a:cubicBezTo>
                    <a:pt x="888" y="316"/>
                    <a:pt x="888" y="316"/>
                    <a:pt x="888" y="316"/>
                  </a:cubicBezTo>
                  <a:cubicBezTo>
                    <a:pt x="855" y="322"/>
                    <a:pt x="855" y="322"/>
                    <a:pt x="855" y="322"/>
                  </a:cubicBezTo>
                  <a:cubicBezTo>
                    <a:pt x="819" y="277"/>
                    <a:pt x="780" y="261"/>
                    <a:pt x="719" y="261"/>
                  </a:cubicBezTo>
                  <a:cubicBezTo>
                    <a:pt x="629" y="261"/>
                    <a:pt x="547" y="318"/>
                    <a:pt x="484" y="423"/>
                  </a:cubicBezTo>
                  <a:cubicBezTo>
                    <a:pt x="432" y="508"/>
                    <a:pt x="421" y="562"/>
                    <a:pt x="421" y="763"/>
                  </a:cubicBezTo>
                  <a:cubicBezTo>
                    <a:pt x="421" y="866"/>
                    <a:pt x="421" y="866"/>
                    <a:pt x="421" y="866"/>
                  </a:cubicBezTo>
                  <a:cubicBezTo>
                    <a:pt x="421" y="1126"/>
                    <a:pt x="437" y="1285"/>
                    <a:pt x="476" y="1408"/>
                  </a:cubicBezTo>
                  <a:cubicBezTo>
                    <a:pt x="406" y="1402"/>
                    <a:pt x="406" y="1402"/>
                    <a:pt x="406" y="1402"/>
                  </a:cubicBezTo>
                  <a:cubicBezTo>
                    <a:pt x="232" y="1402"/>
                    <a:pt x="232" y="1402"/>
                    <a:pt x="232" y="1402"/>
                  </a:cubicBezTo>
                  <a:cubicBezTo>
                    <a:pt x="149" y="1408"/>
                    <a:pt x="149" y="1408"/>
                    <a:pt x="149" y="1408"/>
                  </a:cubicBezTo>
                  <a:cubicBezTo>
                    <a:pt x="158" y="1352"/>
                    <a:pt x="164" y="1307"/>
                    <a:pt x="167" y="1279"/>
                  </a:cubicBezTo>
                  <a:cubicBezTo>
                    <a:pt x="175" y="1210"/>
                    <a:pt x="184" y="1015"/>
                    <a:pt x="186" y="862"/>
                  </a:cubicBezTo>
                  <a:cubicBezTo>
                    <a:pt x="190" y="566"/>
                    <a:pt x="190" y="566"/>
                    <a:pt x="190" y="566"/>
                  </a:cubicBezTo>
                  <a:cubicBezTo>
                    <a:pt x="190" y="430"/>
                    <a:pt x="179" y="303"/>
                    <a:pt x="162" y="244"/>
                  </a:cubicBezTo>
                  <a:cubicBezTo>
                    <a:pt x="143" y="184"/>
                    <a:pt x="100" y="158"/>
                    <a:pt x="22" y="158"/>
                  </a:cubicBezTo>
                  <a:cubicBezTo>
                    <a:pt x="0" y="158"/>
                    <a:pt x="0" y="158"/>
                    <a:pt x="0" y="158"/>
                  </a:cubicBezTo>
                  <a:cubicBezTo>
                    <a:pt x="54" y="45"/>
                    <a:pt x="54" y="45"/>
                    <a:pt x="54" y="45"/>
                  </a:cubicBezTo>
                  <a:cubicBezTo>
                    <a:pt x="126" y="45"/>
                    <a:pt x="126" y="45"/>
                    <a:pt x="126" y="45"/>
                  </a:cubicBezTo>
                  <a:cubicBezTo>
                    <a:pt x="281" y="33"/>
                    <a:pt x="281" y="33"/>
                    <a:pt x="281" y="33"/>
                  </a:cubicBezTo>
                  <a:cubicBezTo>
                    <a:pt x="395" y="26"/>
                    <a:pt x="395" y="26"/>
                    <a:pt x="395" y="26"/>
                  </a:cubicBezTo>
                  <a:cubicBezTo>
                    <a:pt x="389" y="356"/>
                    <a:pt x="389" y="356"/>
                    <a:pt x="389" y="356"/>
                  </a:cubicBezTo>
                  <a:cubicBezTo>
                    <a:pt x="484" y="238"/>
                    <a:pt x="484" y="238"/>
                    <a:pt x="484" y="238"/>
                  </a:cubicBezTo>
                  <a:cubicBezTo>
                    <a:pt x="627" y="58"/>
                    <a:pt x="717" y="0"/>
                    <a:pt x="849" y="0"/>
                  </a:cubicBezTo>
                  <a:cubicBezTo>
                    <a:pt x="892" y="0"/>
                    <a:pt x="912" y="2"/>
                    <a:pt x="957" y="26"/>
                  </a:cubicBezTo>
                  <a:lnTo>
                    <a:pt x="933" y="113"/>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6" name="Freeform 37"/>
            <p:cNvSpPr>
              <a:spLocks noChangeArrowheads="1"/>
            </p:cNvSpPr>
            <p:nvPr/>
          </p:nvSpPr>
          <p:spPr bwMode="auto">
            <a:xfrm>
              <a:off x="4953000" y="1731962"/>
              <a:ext cx="369888" cy="446087"/>
            </a:xfrm>
            <a:custGeom>
              <a:avLst/>
              <a:gdLst>
                <a:gd name="T0" fmla="*/ 778 w 1197"/>
                <a:gd name="T1" fmla="*/ 877 h 1453"/>
                <a:gd name="T2" fmla="*/ 778 w 1197"/>
                <a:gd name="T3" fmla="*/ 877 h 1453"/>
                <a:gd name="T4" fmla="*/ 773 w 1197"/>
                <a:gd name="T5" fmla="*/ 748 h 1453"/>
                <a:gd name="T6" fmla="*/ 386 w 1197"/>
                <a:gd name="T7" fmla="*/ 825 h 1453"/>
                <a:gd name="T8" fmla="*/ 250 w 1197"/>
                <a:gd name="T9" fmla="*/ 1035 h 1453"/>
                <a:gd name="T10" fmla="*/ 466 w 1197"/>
                <a:gd name="T11" fmla="*/ 1266 h 1453"/>
                <a:gd name="T12" fmla="*/ 657 w 1197"/>
                <a:gd name="T13" fmla="*/ 1193 h 1453"/>
                <a:gd name="T14" fmla="*/ 778 w 1197"/>
                <a:gd name="T15" fmla="*/ 914 h 1453"/>
                <a:gd name="T16" fmla="*/ 778 w 1197"/>
                <a:gd name="T17" fmla="*/ 877 h 1453"/>
                <a:gd name="T18" fmla="*/ 1142 w 1197"/>
                <a:gd name="T19" fmla="*/ 1404 h 1453"/>
                <a:gd name="T20" fmla="*/ 1142 w 1197"/>
                <a:gd name="T21" fmla="*/ 1404 h 1453"/>
                <a:gd name="T22" fmla="*/ 1069 w 1197"/>
                <a:gd name="T23" fmla="*/ 1404 h 1453"/>
                <a:gd name="T24" fmla="*/ 911 w 1197"/>
                <a:gd name="T25" fmla="*/ 1415 h 1453"/>
                <a:gd name="T26" fmla="*/ 819 w 1197"/>
                <a:gd name="T27" fmla="*/ 1424 h 1453"/>
                <a:gd name="T28" fmla="*/ 810 w 1197"/>
                <a:gd name="T29" fmla="*/ 1210 h 1453"/>
                <a:gd name="T30" fmla="*/ 702 w 1197"/>
                <a:gd name="T31" fmla="*/ 1305 h 1453"/>
                <a:gd name="T32" fmla="*/ 356 w 1197"/>
                <a:gd name="T33" fmla="*/ 1452 h 1453"/>
                <a:gd name="T34" fmla="*/ 0 w 1197"/>
                <a:gd name="T35" fmla="*/ 1078 h 1453"/>
                <a:gd name="T36" fmla="*/ 149 w 1197"/>
                <a:gd name="T37" fmla="*/ 771 h 1453"/>
                <a:gd name="T38" fmla="*/ 613 w 1197"/>
                <a:gd name="T39" fmla="*/ 633 h 1453"/>
                <a:gd name="T40" fmla="*/ 773 w 1197"/>
                <a:gd name="T41" fmla="*/ 510 h 1453"/>
                <a:gd name="T42" fmla="*/ 708 w 1197"/>
                <a:gd name="T43" fmla="*/ 251 h 1453"/>
                <a:gd name="T44" fmla="*/ 482 w 1197"/>
                <a:gd name="T45" fmla="*/ 169 h 1453"/>
                <a:gd name="T46" fmla="*/ 335 w 1197"/>
                <a:gd name="T47" fmla="*/ 195 h 1453"/>
                <a:gd name="T48" fmla="*/ 190 w 1197"/>
                <a:gd name="T49" fmla="*/ 309 h 1453"/>
                <a:gd name="T50" fmla="*/ 158 w 1197"/>
                <a:gd name="T51" fmla="*/ 301 h 1453"/>
                <a:gd name="T52" fmla="*/ 166 w 1197"/>
                <a:gd name="T53" fmla="*/ 195 h 1453"/>
                <a:gd name="T54" fmla="*/ 170 w 1197"/>
                <a:gd name="T55" fmla="*/ 93 h 1453"/>
                <a:gd name="T56" fmla="*/ 417 w 1197"/>
                <a:gd name="T57" fmla="*/ 15 h 1453"/>
                <a:gd name="T58" fmla="*/ 572 w 1197"/>
                <a:gd name="T59" fmla="*/ 0 h 1453"/>
                <a:gd name="T60" fmla="*/ 1009 w 1197"/>
                <a:gd name="T61" fmla="*/ 370 h 1453"/>
                <a:gd name="T62" fmla="*/ 1006 w 1197"/>
                <a:gd name="T63" fmla="*/ 517 h 1453"/>
                <a:gd name="T64" fmla="*/ 1006 w 1197"/>
                <a:gd name="T65" fmla="*/ 882 h 1453"/>
                <a:gd name="T66" fmla="*/ 1037 w 1197"/>
                <a:gd name="T67" fmla="*/ 1208 h 1453"/>
                <a:gd name="T68" fmla="*/ 1169 w 1197"/>
                <a:gd name="T69" fmla="*/ 1292 h 1453"/>
                <a:gd name="T70" fmla="*/ 1196 w 1197"/>
                <a:gd name="T71" fmla="*/ 1292 h 1453"/>
                <a:gd name="T72" fmla="*/ 1142 w 1197"/>
                <a:gd name="T73" fmla="*/ 1404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7" h="1453">
                  <a:moveTo>
                    <a:pt x="778" y="877"/>
                  </a:moveTo>
                  <a:lnTo>
                    <a:pt x="778" y="877"/>
                  </a:lnTo>
                  <a:cubicBezTo>
                    <a:pt x="773" y="748"/>
                    <a:pt x="773" y="748"/>
                    <a:pt x="773" y="748"/>
                  </a:cubicBezTo>
                  <a:cubicBezTo>
                    <a:pt x="540" y="769"/>
                    <a:pt x="466" y="782"/>
                    <a:pt x="386" y="825"/>
                  </a:cubicBezTo>
                  <a:cubicBezTo>
                    <a:pt x="298" y="869"/>
                    <a:pt x="250" y="944"/>
                    <a:pt x="250" y="1035"/>
                  </a:cubicBezTo>
                  <a:cubicBezTo>
                    <a:pt x="250" y="1173"/>
                    <a:pt x="339" y="1266"/>
                    <a:pt x="466" y="1266"/>
                  </a:cubicBezTo>
                  <a:cubicBezTo>
                    <a:pt x="533" y="1266"/>
                    <a:pt x="594" y="1242"/>
                    <a:pt x="657" y="1193"/>
                  </a:cubicBezTo>
                  <a:cubicBezTo>
                    <a:pt x="751" y="1123"/>
                    <a:pt x="778" y="1059"/>
                    <a:pt x="778" y="914"/>
                  </a:cubicBezTo>
                  <a:lnTo>
                    <a:pt x="778" y="877"/>
                  </a:lnTo>
                  <a:close/>
                  <a:moveTo>
                    <a:pt x="1142" y="1404"/>
                  </a:moveTo>
                  <a:lnTo>
                    <a:pt x="1142" y="1404"/>
                  </a:lnTo>
                  <a:cubicBezTo>
                    <a:pt x="1069" y="1404"/>
                    <a:pt x="1069" y="1404"/>
                    <a:pt x="1069" y="1404"/>
                  </a:cubicBezTo>
                  <a:cubicBezTo>
                    <a:pt x="911" y="1415"/>
                    <a:pt x="911" y="1415"/>
                    <a:pt x="911" y="1415"/>
                  </a:cubicBezTo>
                  <a:cubicBezTo>
                    <a:pt x="819" y="1424"/>
                    <a:pt x="819" y="1424"/>
                    <a:pt x="819" y="1424"/>
                  </a:cubicBezTo>
                  <a:cubicBezTo>
                    <a:pt x="810" y="1210"/>
                    <a:pt x="810" y="1210"/>
                    <a:pt x="810" y="1210"/>
                  </a:cubicBezTo>
                  <a:cubicBezTo>
                    <a:pt x="702" y="1305"/>
                    <a:pt x="702" y="1305"/>
                    <a:pt x="702" y="1305"/>
                  </a:cubicBezTo>
                  <a:cubicBezTo>
                    <a:pt x="581" y="1413"/>
                    <a:pt x="481" y="1452"/>
                    <a:pt x="356" y="1452"/>
                  </a:cubicBezTo>
                  <a:cubicBezTo>
                    <a:pt x="140" y="1452"/>
                    <a:pt x="0" y="1303"/>
                    <a:pt x="0" y="1078"/>
                  </a:cubicBezTo>
                  <a:cubicBezTo>
                    <a:pt x="0" y="949"/>
                    <a:pt x="52" y="843"/>
                    <a:pt x="149" y="771"/>
                  </a:cubicBezTo>
                  <a:cubicBezTo>
                    <a:pt x="235" y="707"/>
                    <a:pt x="391" y="661"/>
                    <a:pt x="613" y="633"/>
                  </a:cubicBezTo>
                  <a:cubicBezTo>
                    <a:pt x="765" y="612"/>
                    <a:pt x="773" y="607"/>
                    <a:pt x="773" y="510"/>
                  </a:cubicBezTo>
                  <a:cubicBezTo>
                    <a:pt x="773" y="357"/>
                    <a:pt x="758" y="305"/>
                    <a:pt x="708" y="251"/>
                  </a:cubicBezTo>
                  <a:cubicBezTo>
                    <a:pt x="657" y="199"/>
                    <a:pt x="577" y="169"/>
                    <a:pt x="482" y="169"/>
                  </a:cubicBezTo>
                  <a:cubicBezTo>
                    <a:pt x="434" y="169"/>
                    <a:pt x="386" y="178"/>
                    <a:pt x="335" y="195"/>
                  </a:cubicBezTo>
                  <a:cubicBezTo>
                    <a:pt x="270" y="219"/>
                    <a:pt x="238" y="244"/>
                    <a:pt x="190" y="309"/>
                  </a:cubicBezTo>
                  <a:cubicBezTo>
                    <a:pt x="158" y="301"/>
                    <a:pt x="158" y="301"/>
                    <a:pt x="158" y="301"/>
                  </a:cubicBezTo>
                  <a:cubicBezTo>
                    <a:pt x="166" y="195"/>
                    <a:pt x="166" y="195"/>
                    <a:pt x="166" y="195"/>
                  </a:cubicBezTo>
                  <a:cubicBezTo>
                    <a:pt x="170" y="93"/>
                    <a:pt x="170" y="93"/>
                    <a:pt x="170" y="93"/>
                  </a:cubicBezTo>
                  <a:cubicBezTo>
                    <a:pt x="279" y="43"/>
                    <a:pt x="322" y="29"/>
                    <a:pt x="417" y="15"/>
                  </a:cubicBezTo>
                  <a:cubicBezTo>
                    <a:pt x="477" y="3"/>
                    <a:pt x="523" y="0"/>
                    <a:pt x="572" y="0"/>
                  </a:cubicBezTo>
                  <a:cubicBezTo>
                    <a:pt x="862" y="0"/>
                    <a:pt x="1015" y="124"/>
                    <a:pt x="1009" y="370"/>
                  </a:cubicBezTo>
                  <a:cubicBezTo>
                    <a:pt x="1006" y="517"/>
                    <a:pt x="1006" y="517"/>
                    <a:pt x="1006" y="517"/>
                  </a:cubicBezTo>
                  <a:cubicBezTo>
                    <a:pt x="1006" y="882"/>
                    <a:pt x="1006" y="882"/>
                    <a:pt x="1006" y="882"/>
                  </a:cubicBezTo>
                  <a:cubicBezTo>
                    <a:pt x="1006" y="1028"/>
                    <a:pt x="1017" y="1145"/>
                    <a:pt x="1037" y="1208"/>
                  </a:cubicBezTo>
                  <a:cubicBezTo>
                    <a:pt x="1056" y="1268"/>
                    <a:pt x="1093" y="1292"/>
                    <a:pt x="1169" y="1292"/>
                  </a:cubicBezTo>
                  <a:cubicBezTo>
                    <a:pt x="1196" y="1292"/>
                    <a:pt x="1196" y="1292"/>
                    <a:pt x="1196" y="1292"/>
                  </a:cubicBezTo>
                  <a:lnTo>
                    <a:pt x="1142" y="1404"/>
                  </a:ln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7" name="Freeform 38"/>
            <p:cNvSpPr>
              <a:spLocks noChangeArrowheads="1"/>
            </p:cNvSpPr>
            <p:nvPr/>
          </p:nvSpPr>
          <p:spPr bwMode="auto">
            <a:xfrm>
              <a:off x="4340225" y="1503362"/>
              <a:ext cx="141288" cy="663575"/>
            </a:xfrm>
            <a:custGeom>
              <a:avLst/>
              <a:gdLst>
                <a:gd name="T0" fmla="*/ 385 w 459"/>
                <a:gd name="T1" fmla="*/ 2145 h 2152"/>
                <a:gd name="T2" fmla="*/ 385 w 459"/>
                <a:gd name="T3" fmla="*/ 2145 h 2152"/>
                <a:gd name="T4" fmla="*/ 210 w 459"/>
                <a:gd name="T5" fmla="*/ 2145 h 2152"/>
                <a:gd name="T6" fmla="*/ 130 w 459"/>
                <a:gd name="T7" fmla="*/ 2151 h 2152"/>
                <a:gd name="T8" fmla="*/ 149 w 459"/>
                <a:gd name="T9" fmla="*/ 2022 h 2152"/>
                <a:gd name="T10" fmla="*/ 162 w 459"/>
                <a:gd name="T11" fmla="*/ 1815 h 2152"/>
                <a:gd name="T12" fmla="*/ 168 w 459"/>
                <a:gd name="T13" fmla="*/ 1605 h 2152"/>
                <a:gd name="T14" fmla="*/ 173 w 459"/>
                <a:gd name="T15" fmla="*/ 521 h 2152"/>
                <a:gd name="T16" fmla="*/ 149 w 459"/>
                <a:gd name="T17" fmla="*/ 221 h 2152"/>
                <a:gd name="T18" fmla="*/ 22 w 459"/>
                <a:gd name="T19" fmla="*/ 136 h 2152"/>
                <a:gd name="T20" fmla="*/ 0 w 459"/>
                <a:gd name="T21" fmla="*/ 136 h 2152"/>
                <a:gd name="T22" fmla="*/ 54 w 459"/>
                <a:gd name="T23" fmla="*/ 20 h 2152"/>
                <a:gd name="T24" fmla="*/ 127 w 459"/>
                <a:gd name="T25" fmla="*/ 20 h 2152"/>
                <a:gd name="T26" fmla="*/ 337 w 459"/>
                <a:gd name="T27" fmla="*/ 9 h 2152"/>
                <a:gd name="T28" fmla="*/ 426 w 459"/>
                <a:gd name="T29" fmla="*/ 0 h 2152"/>
                <a:gd name="T30" fmla="*/ 402 w 459"/>
                <a:gd name="T31" fmla="*/ 484 h 2152"/>
                <a:gd name="T32" fmla="*/ 400 w 459"/>
                <a:gd name="T33" fmla="*/ 1609 h 2152"/>
                <a:gd name="T34" fmla="*/ 458 w 459"/>
                <a:gd name="T35" fmla="*/ 2151 h 2152"/>
                <a:gd name="T36" fmla="*/ 385 w 459"/>
                <a:gd name="T37" fmla="*/ 2145 h 2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9" h="2152">
                  <a:moveTo>
                    <a:pt x="385" y="2145"/>
                  </a:moveTo>
                  <a:lnTo>
                    <a:pt x="385" y="2145"/>
                  </a:lnTo>
                  <a:cubicBezTo>
                    <a:pt x="210" y="2145"/>
                    <a:pt x="210" y="2145"/>
                    <a:pt x="210" y="2145"/>
                  </a:cubicBezTo>
                  <a:cubicBezTo>
                    <a:pt x="130" y="2151"/>
                    <a:pt x="130" y="2151"/>
                    <a:pt x="130" y="2151"/>
                  </a:cubicBezTo>
                  <a:cubicBezTo>
                    <a:pt x="141" y="2095"/>
                    <a:pt x="147" y="2050"/>
                    <a:pt x="149" y="2022"/>
                  </a:cubicBezTo>
                  <a:cubicBezTo>
                    <a:pt x="155" y="1979"/>
                    <a:pt x="158" y="1907"/>
                    <a:pt x="162" y="1815"/>
                  </a:cubicBezTo>
                  <a:cubicBezTo>
                    <a:pt x="168" y="1720"/>
                    <a:pt x="168" y="1652"/>
                    <a:pt x="168" y="1605"/>
                  </a:cubicBezTo>
                  <a:cubicBezTo>
                    <a:pt x="173" y="521"/>
                    <a:pt x="173" y="521"/>
                    <a:pt x="173" y="521"/>
                  </a:cubicBezTo>
                  <a:cubicBezTo>
                    <a:pt x="173" y="383"/>
                    <a:pt x="164" y="279"/>
                    <a:pt x="149" y="221"/>
                  </a:cubicBezTo>
                  <a:cubicBezTo>
                    <a:pt x="136" y="164"/>
                    <a:pt x="91" y="136"/>
                    <a:pt x="22" y="136"/>
                  </a:cubicBezTo>
                  <a:cubicBezTo>
                    <a:pt x="0" y="136"/>
                    <a:pt x="0" y="136"/>
                    <a:pt x="0" y="136"/>
                  </a:cubicBezTo>
                  <a:cubicBezTo>
                    <a:pt x="54" y="20"/>
                    <a:pt x="54" y="20"/>
                    <a:pt x="54" y="20"/>
                  </a:cubicBezTo>
                  <a:cubicBezTo>
                    <a:pt x="127" y="20"/>
                    <a:pt x="127" y="20"/>
                    <a:pt x="127" y="20"/>
                  </a:cubicBezTo>
                  <a:cubicBezTo>
                    <a:pt x="337" y="9"/>
                    <a:pt x="337" y="9"/>
                    <a:pt x="337" y="9"/>
                  </a:cubicBezTo>
                  <a:cubicBezTo>
                    <a:pt x="426" y="0"/>
                    <a:pt x="426" y="0"/>
                    <a:pt x="426" y="0"/>
                  </a:cubicBezTo>
                  <a:cubicBezTo>
                    <a:pt x="408" y="262"/>
                    <a:pt x="402" y="363"/>
                    <a:pt x="402" y="484"/>
                  </a:cubicBezTo>
                  <a:cubicBezTo>
                    <a:pt x="400" y="1609"/>
                    <a:pt x="400" y="1609"/>
                    <a:pt x="400" y="1609"/>
                  </a:cubicBezTo>
                  <a:cubicBezTo>
                    <a:pt x="400" y="1869"/>
                    <a:pt x="417" y="2028"/>
                    <a:pt x="458" y="2151"/>
                  </a:cubicBezTo>
                  <a:lnTo>
                    <a:pt x="385" y="2145"/>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8" name="Freeform 39"/>
            <p:cNvSpPr>
              <a:spLocks noChangeArrowheads="1"/>
            </p:cNvSpPr>
            <p:nvPr/>
          </p:nvSpPr>
          <p:spPr bwMode="auto">
            <a:xfrm>
              <a:off x="3775075" y="1533524"/>
              <a:ext cx="531813" cy="642938"/>
            </a:xfrm>
            <a:custGeom>
              <a:avLst/>
              <a:gdLst>
                <a:gd name="T0" fmla="*/ 1695 w 1727"/>
                <a:gd name="T1" fmla="*/ 185 h 2087"/>
                <a:gd name="T2" fmla="*/ 1695 w 1727"/>
                <a:gd name="T3" fmla="*/ 185 h 2087"/>
                <a:gd name="T4" fmla="*/ 1659 w 1727"/>
                <a:gd name="T5" fmla="*/ 298 h 2087"/>
                <a:gd name="T6" fmla="*/ 1637 w 1727"/>
                <a:gd name="T7" fmla="*/ 386 h 2087"/>
                <a:gd name="T8" fmla="*/ 1596 w 1727"/>
                <a:gd name="T9" fmla="*/ 386 h 2087"/>
                <a:gd name="T10" fmla="*/ 1076 w 1727"/>
                <a:gd name="T11" fmla="*/ 160 h 2087"/>
                <a:gd name="T12" fmla="*/ 317 w 1727"/>
                <a:gd name="T13" fmla="*/ 1004 h 2087"/>
                <a:gd name="T14" fmla="*/ 1121 w 1727"/>
                <a:gd name="T15" fmla="*/ 1901 h 2087"/>
                <a:gd name="T16" fmla="*/ 1378 w 1727"/>
                <a:gd name="T17" fmla="*/ 1866 h 2087"/>
                <a:gd name="T18" fmla="*/ 1665 w 1727"/>
                <a:gd name="T19" fmla="*/ 1732 h 2087"/>
                <a:gd name="T20" fmla="*/ 1700 w 1727"/>
                <a:gd name="T21" fmla="*/ 1756 h 2087"/>
                <a:gd name="T22" fmla="*/ 1674 w 1727"/>
                <a:gd name="T23" fmla="*/ 1827 h 2087"/>
                <a:gd name="T24" fmla="*/ 1642 w 1727"/>
                <a:gd name="T25" fmla="*/ 1922 h 2087"/>
                <a:gd name="T26" fmla="*/ 1616 w 1727"/>
                <a:gd name="T27" fmla="*/ 2009 h 2087"/>
                <a:gd name="T28" fmla="*/ 1361 w 1727"/>
                <a:gd name="T29" fmla="*/ 2065 h 2087"/>
                <a:gd name="T30" fmla="*/ 1067 w 1727"/>
                <a:gd name="T31" fmla="*/ 2086 h 2087"/>
                <a:gd name="T32" fmla="*/ 534 w 1727"/>
                <a:gd name="T33" fmla="*/ 1976 h 2087"/>
                <a:gd name="T34" fmla="*/ 0 w 1727"/>
                <a:gd name="T35" fmla="*/ 1043 h 2087"/>
                <a:gd name="T36" fmla="*/ 359 w 1727"/>
                <a:gd name="T37" fmla="*/ 255 h 2087"/>
                <a:gd name="T38" fmla="*/ 1188 w 1727"/>
                <a:gd name="T39" fmla="*/ 0 h 2087"/>
                <a:gd name="T40" fmla="*/ 1430 w 1727"/>
                <a:gd name="T41" fmla="*/ 17 h 2087"/>
                <a:gd name="T42" fmla="*/ 1726 w 1727"/>
                <a:gd name="T43" fmla="*/ 90 h 2087"/>
                <a:gd name="T44" fmla="*/ 1695 w 1727"/>
                <a:gd name="T45" fmla="*/ 185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7" h="2087">
                  <a:moveTo>
                    <a:pt x="1695" y="185"/>
                  </a:moveTo>
                  <a:lnTo>
                    <a:pt x="1695" y="185"/>
                  </a:lnTo>
                  <a:cubicBezTo>
                    <a:pt x="1659" y="298"/>
                    <a:pt x="1659" y="298"/>
                    <a:pt x="1659" y="298"/>
                  </a:cubicBezTo>
                  <a:cubicBezTo>
                    <a:pt x="1637" y="386"/>
                    <a:pt x="1637" y="386"/>
                    <a:pt x="1637" y="386"/>
                  </a:cubicBezTo>
                  <a:cubicBezTo>
                    <a:pt x="1596" y="386"/>
                    <a:pt x="1596" y="386"/>
                    <a:pt x="1596" y="386"/>
                  </a:cubicBezTo>
                  <a:cubicBezTo>
                    <a:pt x="1462" y="227"/>
                    <a:pt x="1305" y="160"/>
                    <a:pt x="1076" y="160"/>
                  </a:cubicBezTo>
                  <a:cubicBezTo>
                    <a:pt x="607" y="160"/>
                    <a:pt x="317" y="482"/>
                    <a:pt x="317" y="1004"/>
                  </a:cubicBezTo>
                  <a:cubicBezTo>
                    <a:pt x="317" y="1542"/>
                    <a:pt x="639" y="1901"/>
                    <a:pt x="1121" y="1901"/>
                  </a:cubicBezTo>
                  <a:cubicBezTo>
                    <a:pt x="1205" y="1901"/>
                    <a:pt x="1292" y="1886"/>
                    <a:pt x="1378" y="1866"/>
                  </a:cubicBezTo>
                  <a:cubicBezTo>
                    <a:pt x="1501" y="1834"/>
                    <a:pt x="1551" y="1814"/>
                    <a:pt x="1665" y="1732"/>
                  </a:cubicBezTo>
                  <a:cubicBezTo>
                    <a:pt x="1700" y="1756"/>
                    <a:pt x="1700" y="1756"/>
                    <a:pt x="1700" y="1756"/>
                  </a:cubicBezTo>
                  <a:cubicBezTo>
                    <a:pt x="1674" y="1827"/>
                    <a:pt x="1674" y="1827"/>
                    <a:pt x="1674" y="1827"/>
                  </a:cubicBezTo>
                  <a:cubicBezTo>
                    <a:pt x="1642" y="1922"/>
                    <a:pt x="1642" y="1922"/>
                    <a:pt x="1642" y="1922"/>
                  </a:cubicBezTo>
                  <a:cubicBezTo>
                    <a:pt x="1616" y="2009"/>
                    <a:pt x="1616" y="2009"/>
                    <a:pt x="1616" y="2009"/>
                  </a:cubicBezTo>
                  <a:cubicBezTo>
                    <a:pt x="1482" y="2045"/>
                    <a:pt x="1430" y="2054"/>
                    <a:pt x="1361" y="2065"/>
                  </a:cubicBezTo>
                  <a:cubicBezTo>
                    <a:pt x="1274" y="2076"/>
                    <a:pt x="1158" y="2086"/>
                    <a:pt x="1067" y="2086"/>
                  </a:cubicBezTo>
                  <a:cubicBezTo>
                    <a:pt x="862" y="2086"/>
                    <a:pt x="680" y="2047"/>
                    <a:pt x="534" y="1976"/>
                  </a:cubicBezTo>
                  <a:cubicBezTo>
                    <a:pt x="212" y="1814"/>
                    <a:pt x="0" y="1447"/>
                    <a:pt x="0" y="1043"/>
                  </a:cubicBezTo>
                  <a:cubicBezTo>
                    <a:pt x="0" y="734"/>
                    <a:pt x="132" y="449"/>
                    <a:pt x="359" y="255"/>
                  </a:cubicBezTo>
                  <a:cubicBezTo>
                    <a:pt x="570" y="80"/>
                    <a:pt x="834" y="0"/>
                    <a:pt x="1188" y="0"/>
                  </a:cubicBezTo>
                  <a:cubicBezTo>
                    <a:pt x="1268" y="0"/>
                    <a:pt x="1346" y="6"/>
                    <a:pt x="1430" y="17"/>
                  </a:cubicBezTo>
                  <a:cubicBezTo>
                    <a:pt x="1538" y="32"/>
                    <a:pt x="1594" y="47"/>
                    <a:pt x="1726" y="90"/>
                  </a:cubicBezTo>
                  <a:lnTo>
                    <a:pt x="1695" y="185"/>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19" name="Freeform 40"/>
            <p:cNvSpPr>
              <a:spLocks noChangeArrowheads="1"/>
            </p:cNvSpPr>
            <p:nvPr/>
          </p:nvSpPr>
          <p:spPr bwMode="auto">
            <a:xfrm>
              <a:off x="2740025" y="1503362"/>
              <a:ext cx="430213" cy="663575"/>
            </a:xfrm>
            <a:custGeom>
              <a:avLst/>
              <a:gdLst>
                <a:gd name="T0" fmla="*/ 1318 w 1394"/>
                <a:gd name="T1" fmla="*/ 2145 h 2153"/>
                <a:gd name="T2" fmla="*/ 1318 w 1394"/>
                <a:gd name="T3" fmla="*/ 2145 h 2153"/>
                <a:gd name="T4" fmla="*/ 1147 w 1394"/>
                <a:gd name="T5" fmla="*/ 2145 h 2153"/>
                <a:gd name="T6" fmla="*/ 1065 w 1394"/>
                <a:gd name="T7" fmla="*/ 2152 h 2153"/>
                <a:gd name="T8" fmla="*/ 1085 w 1394"/>
                <a:gd name="T9" fmla="*/ 2022 h 2153"/>
                <a:gd name="T10" fmla="*/ 1104 w 1394"/>
                <a:gd name="T11" fmla="*/ 1605 h 2153"/>
                <a:gd name="T12" fmla="*/ 1104 w 1394"/>
                <a:gd name="T13" fmla="*/ 1430 h 2153"/>
                <a:gd name="T14" fmla="*/ 1106 w 1394"/>
                <a:gd name="T15" fmla="*/ 1409 h 2153"/>
                <a:gd name="T16" fmla="*/ 1074 w 1394"/>
                <a:gd name="T17" fmla="*/ 1139 h 2153"/>
                <a:gd name="T18" fmla="*/ 804 w 1394"/>
                <a:gd name="T19" fmla="*/ 961 h 2153"/>
                <a:gd name="T20" fmla="*/ 525 w 1394"/>
                <a:gd name="T21" fmla="*/ 1072 h 2153"/>
                <a:gd name="T22" fmla="*/ 398 w 1394"/>
                <a:gd name="T23" fmla="*/ 1441 h 2153"/>
                <a:gd name="T24" fmla="*/ 398 w 1394"/>
                <a:gd name="T25" fmla="*/ 1609 h 2153"/>
                <a:gd name="T26" fmla="*/ 456 w 1394"/>
                <a:gd name="T27" fmla="*/ 2152 h 2153"/>
                <a:gd name="T28" fmla="*/ 383 w 1394"/>
                <a:gd name="T29" fmla="*/ 2145 h 2153"/>
                <a:gd name="T30" fmla="*/ 208 w 1394"/>
                <a:gd name="T31" fmla="*/ 2145 h 2153"/>
                <a:gd name="T32" fmla="*/ 128 w 1394"/>
                <a:gd name="T33" fmla="*/ 2152 h 2153"/>
                <a:gd name="T34" fmla="*/ 149 w 1394"/>
                <a:gd name="T35" fmla="*/ 2022 h 2153"/>
                <a:gd name="T36" fmla="*/ 160 w 1394"/>
                <a:gd name="T37" fmla="*/ 1815 h 2153"/>
                <a:gd name="T38" fmla="*/ 165 w 1394"/>
                <a:gd name="T39" fmla="*/ 1605 h 2153"/>
                <a:gd name="T40" fmla="*/ 171 w 1394"/>
                <a:gd name="T41" fmla="*/ 521 h 2153"/>
                <a:gd name="T42" fmla="*/ 149 w 1394"/>
                <a:gd name="T43" fmla="*/ 221 h 2153"/>
                <a:gd name="T44" fmla="*/ 22 w 1394"/>
                <a:gd name="T45" fmla="*/ 136 h 2153"/>
                <a:gd name="T46" fmla="*/ 0 w 1394"/>
                <a:gd name="T47" fmla="*/ 136 h 2153"/>
                <a:gd name="T48" fmla="*/ 54 w 1394"/>
                <a:gd name="T49" fmla="*/ 20 h 2153"/>
                <a:gd name="T50" fmla="*/ 124 w 1394"/>
                <a:gd name="T51" fmla="*/ 20 h 2153"/>
                <a:gd name="T52" fmla="*/ 335 w 1394"/>
                <a:gd name="T53" fmla="*/ 9 h 2153"/>
                <a:gd name="T54" fmla="*/ 424 w 1394"/>
                <a:gd name="T55" fmla="*/ 0 h 2153"/>
                <a:gd name="T56" fmla="*/ 402 w 1394"/>
                <a:gd name="T57" fmla="*/ 484 h 2153"/>
                <a:gd name="T58" fmla="*/ 398 w 1394"/>
                <a:gd name="T59" fmla="*/ 1022 h 2153"/>
                <a:gd name="T60" fmla="*/ 499 w 1394"/>
                <a:gd name="T61" fmla="*/ 940 h 2153"/>
                <a:gd name="T62" fmla="*/ 920 w 1394"/>
                <a:gd name="T63" fmla="*/ 758 h 2153"/>
                <a:gd name="T64" fmla="*/ 1279 w 1394"/>
                <a:gd name="T65" fmla="*/ 946 h 2153"/>
                <a:gd name="T66" fmla="*/ 1324 w 1394"/>
                <a:gd name="T67" fmla="*/ 1072 h 2153"/>
                <a:gd name="T68" fmla="*/ 1337 w 1394"/>
                <a:gd name="T69" fmla="*/ 1294 h 2153"/>
                <a:gd name="T70" fmla="*/ 1337 w 1394"/>
                <a:gd name="T71" fmla="*/ 1609 h 2153"/>
                <a:gd name="T72" fmla="*/ 1393 w 1394"/>
                <a:gd name="T73" fmla="*/ 2152 h 2153"/>
                <a:gd name="T74" fmla="*/ 1318 w 1394"/>
                <a:gd name="T75" fmla="*/ 2145 h 2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4" h="2153">
                  <a:moveTo>
                    <a:pt x="1318" y="2145"/>
                  </a:moveTo>
                  <a:lnTo>
                    <a:pt x="1318" y="2145"/>
                  </a:lnTo>
                  <a:cubicBezTo>
                    <a:pt x="1147" y="2145"/>
                    <a:pt x="1147" y="2145"/>
                    <a:pt x="1147" y="2145"/>
                  </a:cubicBezTo>
                  <a:cubicBezTo>
                    <a:pt x="1065" y="2152"/>
                    <a:pt x="1065" y="2152"/>
                    <a:pt x="1065" y="2152"/>
                  </a:cubicBezTo>
                  <a:cubicBezTo>
                    <a:pt x="1074" y="2095"/>
                    <a:pt x="1084" y="2050"/>
                    <a:pt x="1085" y="2022"/>
                  </a:cubicBezTo>
                  <a:cubicBezTo>
                    <a:pt x="1095" y="1953"/>
                    <a:pt x="1104" y="1784"/>
                    <a:pt x="1104" y="1605"/>
                  </a:cubicBezTo>
                  <a:cubicBezTo>
                    <a:pt x="1104" y="1430"/>
                    <a:pt x="1104" y="1430"/>
                    <a:pt x="1104" y="1430"/>
                  </a:cubicBezTo>
                  <a:cubicBezTo>
                    <a:pt x="1106" y="1409"/>
                    <a:pt x="1106" y="1409"/>
                    <a:pt x="1106" y="1409"/>
                  </a:cubicBezTo>
                  <a:cubicBezTo>
                    <a:pt x="1106" y="1287"/>
                    <a:pt x="1095" y="1203"/>
                    <a:pt x="1074" y="1139"/>
                  </a:cubicBezTo>
                  <a:cubicBezTo>
                    <a:pt x="1037" y="1028"/>
                    <a:pt x="938" y="961"/>
                    <a:pt x="804" y="961"/>
                  </a:cubicBezTo>
                  <a:cubicBezTo>
                    <a:pt x="704" y="961"/>
                    <a:pt x="605" y="1002"/>
                    <a:pt x="525" y="1072"/>
                  </a:cubicBezTo>
                  <a:cubicBezTo>
                    <a:pt x="428" y="1160"/>
                    <a:pt x="398" y="1240"/>
                    <a:pt x="398" y="1441"/>
                  </a:cubicBezTo>
                  <a:cubicBezTo>
                    <a:pt x="398" y="1609"/>
                    <a:pt x="398" y="1609"/>
                    <a:pt x="398" y="1609"/>
                  </a:cubicBezTo>
                  <a:cubicBezTo>
                    <a:pt x="398" y="1869"/>
                    <a:pt x="415" y="2028"/>
                    <a:pt x="456" y="2152"/>
                  </a:cubicBezTo>
                  <a:cubicBezTo>
                    <a:pt x="383" y="2145"/>
                    <a:pt x="383" y="2145"/>
                    <a:pt x="383" y="2145"/>
                  </a:cubicBezTo>
                  <a:cubicBezTo>
                    <a:pt x="208" y="2145"/>
                    <a:pt x="208" y="2145"/>
                    <a:pt x="208" y="2145"/>
                  </a:cubicBezTo>
                  <a:cubicBezTo>
                    <a:pt x="128" y="2152"/>
                    <a:pt x="128" y="2152"/>
                    <a:pt x="128" y="2152"/>
                  </a:cubicBezTo>
                  <a:cubicBezTo>
                    <a:pt x="139" y="2095"/>
                    <a:pt x="145" y="2050"/>
                    <a:pt x="149" y="2022"/>
                  </a:cubicBezTo>
                  <a:cubicBezTo>
                    <a:pt x="154" y="1979"/>
                    <a:pt x="156" y="1907"/>
                    <a:pt x="160" y="1815"/>
                  </a:cubicBezTo>
                  <a:cubicBezTo>
                    <a:pt x="165" y="1720"/>
                    <a:pt x="165" y="1652"/>
                    <a:pt x="165" y="1605"/>
                  </a:cubicBezTo>
                  <a:cubicBezTo>
                    <a:pt x="171" y="521"/>
                    <a:pt x="171" y="521"/>
                    <a:pt x="171" y="521"/>
                  </a:cubicBezTo>
                  <a:cubicBezTo>
                    <a:pt x="171" y="383"/>
                    <a:pt x="164" y="279"/>
                    <a:pt x="149" y="221"/>
                  </a:cubicBezTo>
                  <a:cubicBezTo>
                    <a:pt x="134" y="164"/>
                    <a:pt x="91" y="136"/>
                    <a:pt x="22" y="136"/>
                  </a:cubicBezTo>
                  <a:cubicBezTo>
                    <a:pt x="0" y="136"/>
                    <a:pt x="0" y="136"/>
                    <a:pt x="0" y="136"/>
                  </a:cubicBezTo>
                  <a:cubicBezTo>
                    <a:pt x="54" y="20"/>
                    <a:pt x="54" y="20"/>
                    <a:pt x="54" y="20"/>
                  </a:cubicBezTo>
                  <a:cubicBezTo>
                    <a:pt x="124" y="20"/>
                    <a:pt x="124" y="20"/>
                    <a:pt x="124" y="20"/>
                  </a:cubicBezTo>
                  <a:cubicBezTo>
                    <a:pt x="335" y="9"/>
                    <a:pt x="335" y="9"/>
                    <a:pt x="335" y="9"/>
                  </a:cubicBezTo>
                  <a:cubicBezTo>
                    <a:pt x="424" y="0"/>
                    <a:pt x="424" y="0"/>
                    <a:pt x="424" y="0"/>
                  </a:cubicBezTo>
                  <a:cubicBezTo>
                    <a:pt x="408" y="257"/>
                    <a:pt x="402" y="359"/>
                    <a:pt x="402" y="484"/>
                  </a:cubicBezTo>
                  <a:cubicBezTo>
                    <a:pt x="398" y="1022"/>
                    <a:pt x="398" y="1022"/>
                    <a:pt x="398" y="1022"/>
                  </a:cubicBezTo>
                  <a:cubicBezTo>
                    <a:pt x="499" y="940"/>
                    <a:pt x="499" y="940"/>
                    <a:pt x="499" y="940"/>
                  </a:cubicBezTo>
                  <a:cubicBezTo>
                    <a:pt x="663" y="808"/>
                    <a:pt x="778" y="758"/>
                    <a:pt x="920" y="758"/>
                  </a:cubicBezTo>
                  <a:cubicBezTo>
                    <a:pt x="1080" y="758"/>
                    <a:pt x="1210" y="827"/>
                    <a:pt x="1279" y="946"/>
                  </a:cubicBezTo>
                  <a:cubicBezTo>
                    <a:pt x="1301" y="987"/>
                    <a:pt x="1316" y="1030"/>
                    <a:pt x="1324" y="1072"/>
                  </a:cubicBezTo>
                  <a:cubicBezTo>
                    <a:pt x="1337" y="1134"/>
                    <a:pt x="1337" y="1167"/>
                    <a:pt x="1337" y="1294"/>
                  </a:cubicBezTo>
                  <a:cubicBezTo>
                    <a:pt x="1337" y="1609"/>
                    <a:pt x="1337" y="1609"/>
                    <a:pt x="1337" y="1609"/>
                  </a:cubicBezTo>
                  <a:cubicBezTo>
                    <a:pt x="1337" y="1869"/>
                    <a:pt x="1354" y="2028"/>
                    <a:pt x="1393" y="2152"/>
                  </a:cubicBezTo>
                  <a:lnTo>
                    <a:pt x="1318" y="2145"/>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0" name="Freeform 41"/>
            <p:cNvSpPr>
              <a:spLocks noChangeArrowheads="1"/>
            </p:cNvSpPr>
            <p:nvPr/>
          </p:nvSpPr>
          <p:spPr bwMode="auto">
            <a:xfrm>
              <a:off x="2208213" y="1546224"/>
              <a:ext cx="542925" cy="619125"/>
            </a:xfrm>
            <a:custGeom>
              <a:avLst/>
              <a:gdLst>
                <a:gd name="T0" fmla="*/ 1732 w 1763"/>
                <a:gd name="T1" fmla="*/ 95 h 2007"/>
                <a:gd name="T2" fmla="*/ 1732 w 1763"/>
                <a:gd name="T3" fmla="*/ 95 h 2007"/>
                <a:gd name="T4" fmla="*/ 1700 w 1763"/>
                <a:gd name="T5" fmla="*/ 218 h 2007"/>
                <a:gd name="T6" fmla="*/ 1685 w 1763"/>
                <a:gd name="T7" fmla="*/ 291 h 2007"/>
                <a:gd name="T8" fmla="*/ 1648 w 1763"/>
                <a:gd name="T9" fmla="*/ 292 h 2007"/>
                <a:gd name="T10" fmla="*/ 1510 w 1763"/>
                <a:gd name="T11" fmla="*/ 201 h 2007"/>
                <a:gd name="T12" fmla="*/ 1389 w 1763"/>
                <a:gd name="T13" fmla="*/ 171 h 2007"/>
                <a:gd name="T14" fmla="*/ 1015 w 1763"/>
                <a:gd name="T15" fmla="*/ 155 h 2007"/>
                <a:gd name="T16" fmla="*/ 1004 w 1763"/>
                <a:gd name="T17" fmla="*/ 514 h 2007"/>
                <a:gd name="T18" fmla="*/ 1000 w 1763"/>
                <a:gd name="T19" fmla="*/ 1464 h 2007"/>
                <a:gd name="T20" fmla="*/ 1056 w 1763"/>
                <a:gd name="T21" fmla="*/ 2006 h 2007"/>
                <a:gd name="T22" fmla="*/ 983 w 1763"/>
                <a:gd name="T23" fmla="*/ 2000 h 2007"/>
                <a:gd name="T24" fmla="*/ 773 w 1763"/>
                <a:gd name="T25" fmla="*/ 2000 h 2007"/>
                <a:gd name="T26" fmla="*/ 687 w 1763"/>
                <a:gd name="T27" fmla="*/ 2006 h 2007"/>
                <a:gd name="T28" fmla="*/ 708 w 1763"/>
                <a:gd name="T29" fmla="*/ 1877 h 2007"/>
                <a:gd name="T30" fmla="*/ 728 w 1763"/>
                <a:gd name="T31" fmla="*/ 1460 h 2007"/>
                <a:gd name="T32" fmla="*/ 730 w 1763"/>
                <a:gd name="T33" fmla="*/ 514 h 2007"/>
                <a:gd name="T34" fmla="*/ 728 w 1763"/>
                <a:gd name="T35" fmla="*/ 339 h 2007"/>
                <a:gd name="T36" fmla="*/ 722 w 1763"/>
                <a:gd name="T37" fmla="*/ 155 h 2007"/>
                <a:gd name="T38" fmla="*/ 533 w 1763"/>
                <a:gd name="T39" fmla="*/ 157 h 2007"/>
                <a:gd name="T40" fmla="*/ 169 w 1763"/>
                <a:gd name="T41" fmla="*/ 207 h 2007"/>
                <a:gd name="T42" fmla="*/ 37 w 1763"/>
                <a:gd name="T43" fmla="*/ 296 h 2007"/>
                <a:gd name="T44" fmla="*/ 0 w 1763"/>
                <a:gd name="T45" fmla="*/ 292 h 2007"/>
                <a:gd name="T46" fmla="*/ 6 w 1763"/>
                <a:gd name="T47" fmla="*/ 229 h 2007"/>
                <a:gd name="T48" fmla="*/ 22 w 1763"/>
                <a:gd name="T49" fmla="*/ 97 h 2007"/>
                <a:gd name="T50" fmla="*/ 32 w 1763"/>
                <a:gd name="T51" fmla="*/ 0 h 2007"/>
                <a:gd name="T52" fmla="*/ 153 w 1763"/>
                <a:gd name="T53" fmla="*/ 2 h 2007"/>
                <a:gd name="T54" fmla="*/ 866 w 1763"/>
                <a:gd name="T55" fmla="*/ 13 h 2007"/>
                <a:gd name="T56" fmla="*/ 1633 w 1763"/>
                <a:gd name="T57" fmla="*/ 2 h 2007"/>
                <a:gd name="T58" fmla="*/ 1762 w 1763"/>
                <a:gd name="T59" fmla="*/ 0 h 2007"/>
                <a:gd name="T60" fmla="*/ 1732 w 1763"/>
                <a:gd name="T61" fmla="*/ 95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3" h="2007">
                  <a:moveTo>
                    <a:pt x="1732" y="95"/>
                  </a:moveTo>
                  <a:lnTo>
                    <a:pt x="1732" y="95"/>
                  </a:lnTo>
                  <a:cubicBezTo>
                    <a:pt x="1700" y="218"/>
                    <a:pt x="1700" y="218"/>
                    <a:pt x="1700" y="218"/>
                  </a:cubicBezTo>
                  <a:cubicBezTo>
                    <a:pt x="1685" y="291"/>
                    <a:pt x="1685" y="291"/>
                    <a:pt x="1685" y="291"/>
                  </a:cubicBezTo>
                  <a:cubicBezTo>
                    <a:pt x="1648" y="292"/>
                    <a:pt x="1648" y="292"/>
                    <a:pt x="1648" y="292"/>
                  </a:cubicBezTo>
                  <a:cubicBezTo>
                    <a:pt x="1592" y="240"/>
                    <a:pt x="1568" y="222"/>
                    <a:pt x="1510" y="201"/>
                  </a:cubicBezTo>
                  <a:cubicBezTo>
                    <a:pt x="1469" y="186"/>
                    <a:pt x="1428" y="177"/>
                    <a:pt x="1389" y="171"/>
                  </a:cubicBezTo>
                  <a:cubicBezTo>
                    <a:pt x="1296" y="160"/>
                    <a:pt x="1251" y="157"/>
                    <a:pt x="1015" y="155"/>
                  </a:cubicBezTo>
                  <a:cubicBezTo>
                    <a:pt x="1004" y="514"/>
                    <a:pt x="1004" y="514"/>
                    <a:pt x="1004" y="514"/>
                  </a:cubicBezTo>
                  <a:cubicBezTo>
                    <a:pt x="1000" y="1464"/>
                    <a:pt x="1000" y="1464"/>
                    <a:pt x="1000" y="1464"/>
                  </a:cubicBezTo>
                  <a:cubicBezTo>
                    <a:pt x="1000" y="1724"/>
                    <a:pt x="1015" y="1883"/>
                    <a:pt x="1056" y="2006"/>
                  </a:cubicBezTo>
                  <a:cubicBezTo>
                    <a:pt x="983" y="2000"/>
                    <a:pt x="983" y="2000"/>
                    <a:pt x="983" y="2000"/>
                  </a:cubicBezTo>
                  <a:cubicBezTo>
                    <a:pt x="773" y="2000"/>
                    <a:pt x="773" y="2000"/>
                    <a:pt x="773" y="2000"/>
                  </a:cubicBezTo>
                  <a:cubicBezTo>
                    <a:pt x="687" y="2006"/>
                    <a:pt x="687" y="2006"/>
                    <a:pt x="687" y="2006"/>
                  </a:cubicBezTo>
                  <a:cubicBezTo>
                    <a:pt x="698" y="1950"/>
                    <a:pt x="704" y="1905"/>
                    <a:pt x="708" y="1877"/>
                  </a:cubicBezTo>
                  <a:cubicBezTo>
                    <a:pt x="724" y="1750"/>
                    <a:pt x="728" y="1724"/>
                    <a:pt x="728" y="1460"/>
                  </a:cubicBezTo>
                  <a:cubicBezTo>
                    <a:pt x="730" y="514"/>
                    <a:pt x="730" y="514"/>
                    <a:pt x="730" y="514"/>
                  </a:cubicBezTo>
                  <a:cubicBezTo>
                    <a:pt x="730" y="486"/>
                    <a:pt x="730" y="428"/>
                    <a:pt x="728" y="339"/>
                  </a:cubicBezTo>
                  <a:cubicBezTo>
                    <a:pt x="724" y="298"/>
                    <a:pt x="724" y="235"/>
                    <a:pt x="722" y="155"/>
                  </a:cubicBezTo>
                  <a:cubicBezTo>
                    <a:pt x="639" y="155"/>
                    <a:pt x="575" y="157"/>
                    <a:pt x="533" y="157"/>
                  </a:cubicBezTo>
                  <a:cubicBezTo>
                    <a:pt x="333" y="160"/>
                    <a:pt x="255" y="171"/>
                    <a:pt x="169" y="207"/>
                  </a:cubicBezTo>
                  <a:cubicBezTo>
                    <a:pt x="115" y="229"/>
                    <a:pt x="89" y="246"/>
                    <a:pt x="37" y="296"/>
                  </a:cubicBezTo>
                  <a:cubicBezTo>
                    <a:pt x="0" y="292"/>
                    <a:pt x="0" y="292"/>
                    <a:pt x="0" y="292"/>
                  </a:cubicBezTo>
                  <a:cubicBezTo>
                    <a:pt x="6" y="229"/>
                    <a:pt x="6" y="229"/>
                    <a:pt x="6" y="229"/>
                  </a:cubicBezTo>
                  <a:cubicBezTo>
                    <a:pt x="22" y="97"/>
                    <a:pt x="22" y="97"/>
                    <a:pt x="22" y="97"/>
                  </a:cubicBezTo>
                  <a:cubicBezTo>
                    <a:pt x="32" y="0"/>
                    <a:pt x="32" y="0"/>
                    <a:pt x="32" y="0"/>
                  </a:cubicBezTo>
                  <a:cubicBezTo>
                    <a:pt x="153" y="2"/>
                    <a:pt x="153" y="2"/>
                    <a:pt x="153" y="2"/>
                  </a:cubicBezTo>
                  <a:cubicBezTo>
                    <a:pt x="419" y="8"/>
                    <a:pt x="657" y="13"/>
                    <a:pt x="866" y="13"/>
                  </a:cubicBezTo>
                  <a:cubicBezTo>
                    <a:pt x="1082" y="13"/>
                    <a:pt x="1337" y="8"/>
                    <a:pt x="1633" y="2"/>
                  </a:cubicBezTo>
                  <a:cubicBezTo>
                    <a:pt x="1762" y="0"/>
                    <a:pt x="1762" y="0"/>
                    <a:pt x="1762" y="0"/>
                  </a:cubicBezTo>
                  <a:lnTo>
                    <a:pt x="1732" y="95"/>
                  </a:ln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1" name="Freeform 42"/>
            <p:cNvSpPr>
              <a:spLocks noChangeArrowheads="1"/>
            </p:cNvSpPr>
            <p:nvPr/>
          </p:nvSpPr>
          <p:spPr bwMode="auto">
            <a:xfrm>
              <a:off x="9228138" y="1724024"/>
              <a:ext cx="115887" cy="115888"/>
            </a:xfrm>
            <a:custGeom>
              <a:avLst/>
              <a:gdLst>
                <a:gd name="T0" fmla="*/ 188 w 376"/>
                <a:gd name="T1" fmla="*/ 0 h 373"/>
                <a:gd name="T2" fmla="*/ 188 w 376"/>
                <a:gd name="T3" fmla="*/ 0 h 373"/>
                <a:gd name="T4" fmla="*/ 375 w 376"/>
                <a:gd name="T5" fmla="*/ 186 h 373"/>
                <a:gd name="T6" fmla="*/ 188 w 376"/>
                <a:gd name="T7" fmla="*/ 372 h 373"/>
                <a:gd name="T8" fmla="*/ 0 w 376"/>
                <a:gd name="T9" fmla="*/ 186 h 373"/>
                <a:gd name="T10" fmla="*/ 188 w 376"/>
                <a:gd name="T11" fmla="*/ 0 h 373"/>
                <a:gd name="T12" fmla="*/ 188 w 376"/>
                <a:gd name="T13" fmla="*/ 344 h 373"/>
                <a:gd name="T14" fmla="*/ 188 w 376"/>
                <a:gd name="T15" fmla="*/ 344 h 373"/>
                <a:gd name="T16" fmla="*/ 341 w 376"/>
                <a:gd name="T17" fmla="*/ 186 h 373"/>
                <a:gd name="T18" fmla="*/ 188 w 376"/>
                <a:gd name="T19" fmla="*/ 28 h 373"/>
                <a:gd name="T20" fmla="*/ 34 w 376"/>
                <a:gd name="T21" fmla="*/ 186 h 373"/>
                <a:gd name="T22" fmla="*/ 188 w 376"/>
                <a:gd name="T23" fmla="*/ 344 h 373"/>
                <a:gd name="T24" fmla="*/ 116 w 376"/>
                <a:gd name="T25" fmla="*/ 78 h 373"/>
                <a:gd name="T26" fmla="*/ 116 w 376"/>
                <a:gd name="T27" fmla="*/ 78 h 373"/>
                <a:gd name="T28" fmla="*/ 199 w 376"/>
                <a:gd name="T29" fmla="*/ 78 h 373"/>
                <a:gd name="T30" fmla="*/ 276 w 376"/>
                <a:gd name="T31" fmla="*/ 139 h 373"/>
                <a:gd name="T32" fmla="*/ 218 w 376"/>
                <a:gd name="T33" fmla="*/ 199 h 373"/>
                <a:gd name="T34" fmla="*/ 280 w 376"/>
                <a:gd name="T35" fmla="*/ 294 h 373"/>
                <a:gd name="T36" fmla="*/ 244 w 376"/>
                <a:gd name="T37" fmla="*/ 294 h 373"/>
                <a:gd name="T38" fmla="*/ 185 w 376"/>
                <a:gd name="T39" fmla="*/ 201 h 373"/>
                <a:gd name="T40" fmla="*/ 149 w 376"/>
                <a:gd name="T41" fmla="*/ 201 h 373"/>
                <a:gd name="T42" fmla="*/ 149 w 376"/>
                <a:gd name="T43" fmla="*/ 294 h 373"/>
                <a:gd name="T44" fmla="*/ 116 w 376"/>
                <a:gd name="T45" fmla="*/ 294 h 373"/>
                <a:gd name="T46" fmla="*/ 116 w 376"/>
                <a:gd name="T47" fmla="*/ 78 h 373"/>
                <a:gd name="T48" fmla="*/ 149 w 376"/>
                <a:gd name="T49" fmla="*/ 173 h 373"/>
                <a:gd name="T50" fmla="*/ 149 w 376"/>
                <a:gd name="T51" fmla="*/ 173 h 373"/>
                <a:gd name="T52" fmla="*/ 185 w 376"/>
                <a:gd name="T53" fmla="*/ 173 h 373"/>
                <a:gd name="T54" fmla="*/ 242 w 376"/>
                <a:gd name="T55" fmla="*/ 137 h 373"/>
                <a:gd name="T56" fmla="*/ 194 w 376"/>
                <a:gd name="T57" fmla="*/ 104 h 373"/>
                <a:gd name="T58" fmla="*/ 149 w 376"/>
                <a:gd name="T59" fmla="*/ 104 h 373"/>
                <a:gd name="T60" fmla="*/ 149 w 376"/>
                <a:gd name="T61" fmla="*/ 1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373">
                  <a:moveTo>
                    <a:pt x="188" y="0"/>
                  </a:moveTo>
                  <a:lnTo>
                    <a:pt x="188" y="0"/>
                  </a:lnTo>
                  <a:cubicBezTo>
                    <a:pt x="289" y="0"/>
                    <a:pt x="375" y="80"/>
                    <a:pt x="375" y="186"/>
                  </a:cubicBezTo>
                  <a:cubicBezTo>
                    <a:pt x="375" y="292"/>
                    <a:pt x="289" y="372"/>
                    <a:pt x="188" y="372"/>
                  </a:cubicBezTo>
                  <a:cubicBezTo>
                    <a:pt x="86" y="372"/>
                    <a:pt x="0" y="292"/>
                    <a:pt x="0" y="186"/>
                  </a:cubicBezTo>
                  <a:cubicBezTo>
                    <a:pt x="0" y="80"/>
                    <a:pt x="86" y="0"/>
                    <a:pt x="188" y="0"/>
                  </a:cubicBezTo>
                  <a:close/>
                  <a:moveTo>
                    <a:pt x="188" y="344"/>
                  </a:moveTo>
                  <a:lnTo>
                    <a:pt x="188" y="344"/>
                  </a:lnTo>
                  <a:cubicBezTo>
                    <a:pt x="274" y="344"/>
                    <a:pt x="341" y="275"/>
                    <a:pt x="341" y="186"/>
                  </a:cubicBezTo>
                  <a:cubicBezTo>
                    <a:pt x="341" y="96"/>
                    <a:pt x="274" y="28"/>
                    <a:pt x="188" y="28"/>
                  </a:cubicBezTo>
                  <a:cubicBezTo>
                    <a:pt x="101" y="28"/>
                    <a:pt x="34" y="96"/>
                    <a:pt x="34" y="186"/>
                  </a:cubicBezTo>
                  <a:cubicBezTo>
                    <a:pt x="34" y="275"/>
                    <a:pt x="101" y="344"/>
                    <a:pt x="188" y="344"/>
                  </a:cubicBezTo>
                  <a:close/>
                  <a:moveTo>
                    <a:pt x="116" y="78"/>
                  </a:moveTo>
                  <a:lnTo>
                    <a:pt x="116" y="78"/>
                  </a:lnTo>
                  <a:cubicBezTo>
                    <a:pt x="199" y="78"/>
                    <a:pt x="199" y="78"/>
                    <a:pt x="199" y="78"/>
                  </a:cubicBezTo>
                  <a:cubicBezTo>
                    <a:pt x="252" y="78"/>
                    <a:pt x="276" y="98"/>
                    <a:pt x="276" y="139"/>
                  </a:cubicBezTo>
                  <a:cubicBezTo>
                    <a:pt x="276" y="178"/>
                    <a:pt x="250" y="195"/>
                    <a:pt x="218" y="199"/>
                  </a:cubicBezTo>
                  <a:cubicBezTo>
                    <a:pt x="280" y="294"/>
                    <a:pt x="280" y="294"/>
                    <a:pt x="280" y="294"/>
                  </a:cubicBezTo>
                  <a:cubicBezTo>
                    <a:pt x="244" y="294"/>
                    <a:pt x="244" y="294"/>
                    <a:pt x="244" y="294"/>
                  </a:cubicBezTo>
                  <a:cubicBezTo>
                    <a:pt x="185" y="201"/>
                    <a:pt x="185" y="201"/>
                    <a:pt x="185" y="201"/>
                  </a:cubicBezTo>
                  <a:cubicBezTo>
                    <a:pt x="149" y="201"/>
                    <a:pt x="149" y="201"/>
                    <a:pt x="149" y="201"/>
                  </a:cubicBezTo>
                  <a:cubicBezTo>
                    <a:pt x="149" y="294"/>
                    <a:pt x="149" y="294"/>
                    <a:pt x="149" y="294"/>
                  </a:cubicBezTo>
                  <a:cubicBezTo>
                    <a:pt x="116" y="294"/>
                    <a:pt x="116" y="294"/>
                    <a:pt x="116" y="294"/>
                  </a:cubicBezTo>
                  <a:lnTo>
                    <a:pt x="116" y="78"/>
                  </a:lnTo>
                  <a:close/>
                  <a:moveTo>
                    <a:pt x="149" y="173"/>
                  </a:moveTo>
                  <a:lnTo>
                    <a:pt x="149" y="173"/>
                  </a:lnTo>
                  <a:cubicBezTo>
                    <a:pt x="185" y="173"/>
                    <a:pt x="185" y="173"/>
                    <a:pt x="185" y="173"/>
                  </a:cubicBezTo>
                  <a:cubicBezTo>
                    <a:pt x="214" y="173"/>
                    <a:pt x="242" y="173"/>
                    <a:pt x="242" y="137"/>
                  </a:cubicBezTo>
                  <a:cubicBezTo>
                    <a:pt x="242" y="110"/>
                    <a:pt x="216" y="104"/>
                    <a:pt x="194" y="104"/>
                  </a:cubicBezTo>
                  <a:cubicBezTo>
                    <a:pt x="149" y="104"/>
                    <a:pt x="149" y="104"/>
                    <a:pt x="149" y="104"/>
                  </a:cubicBezTo>
                  <a:lnTo>
                    <a:pt x="149" y="173"/>
                  </a:ln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2" name="Freeform 43"/>
            <p:cNvSpPr>
              <a:spLocks noChangeArrowheads="1"/>
            </p:cNvSpPr>
            <p:nvPr/>
          </p:nvSpPr>
          <p:spPr bwMode="auto">
            <a:xfrm>
              <a:off x="5699125" y="1541462"/>
              <a:ext cx="88900" cy="95250"/>
            </a:xfrm>
            <a:custGeom>
              <a:avLst/>
              <a:gdLst>
                <a:gd name="T0" fmla="*/ 115 w 290"/>
                <a:gd name="T1" fmla="*/ 314 h 315"/>
                <a:gd name="T2" fmla="*/ 115 w 290"/>
                <a:gd name="T3" fmla="*/ 314 h 315"/>
                <a:gd name="T4" fmla="*/ 0 w 290"/>
                <a:gd name="T5" fmla="*/ 184 h 315"/>
                <a:gd name="T6" fmla="*/ 173 w 290"/>
                <a:gd name="T7" fmla="*/ 0 h 315"/>
                <a:gd name="T8" fmla="*/ 289 w 290"/>
                <a:gd name="T9" fmla="*/ 132 h 315"/>
                <a:gd name="T10" fmla="*/ 289 w 290"/>
                <a:gd name="T11" fmla="*/ 147 h 315"/>
                <a:gd name="T12" fmla="*/ 115 w 290"/>
                <a:gd name="T13" fmla="*/ 314 h 315"/>
              </a:gdLst>
              <a:ahLst/>
              <a:cxnLst>
                <a:cxn ang="0">
                  <a:pos x="T0" y="T1"/>
                </a:cxn>
                <a:cxn ang="0">
                  <a:pos x="T2" y="T3"/>
                </a:cxn>
                <a:cxn ang="0">
                  <a:pos x="T4" y="T5"/>
                </a:cxn>
                <a:cxn ang="0">
                  <a:pos x="T6" y="T7"/>
                </a:cxn>
                <a:cxn ang="0">
                  <a:pos x="T8" y="T9"/>
                </a:cxn>
                <a:cxn ang="0">
                  <a:pos x="T10" y="T11"/>
                </a:cxn>
                <a:cxn ang="0">
                  <a:pos x="T12" y="T13"/>
                </a:cxn>
              </a:cxnLst>
              <a:rect l="0" t="0" r="r" b="b"/>
              <a:pathLst>
                <a:path w="290" h="315">
                  <a:moveTo>
                    <a:pt x="115" y="314"/>
                  </a:moveTo>
                  <a:lnTo>
                    <a:pt x="115" y="314"/>
                  </a:lnTo>
                  <a:cubicBezTo>
                    <a:pt x="22" y="314"/>
                    <a:pt x="0" y="292"/>
                    <a:pt x="0" y="184"/>
                  </a:cubicBezTo>
                  <a:cubicBezTo>
                    <a:pt x="0" y="29"/>
                    <a:pt x="26" y="0"/>
                    <a:pt x="173" y="0"/>
                  </a:cubicBezTo>
                  <a:cubicBezTo>
                    <a:pt x="268" y="0"/>
                    <a:pt x="289" y="26"/>
                    <a:pt x="289" y="132"/>
                  </a:cubicBezTo>
                  <a:cubicBezTo>
                    <a:pt x="289" y="147"/>
                    <a:pt x="289" y="147"/>
                    <a:pt x="289" y="147"/>
                  </a:cubicBezTo>
                  <a:cubicBezTo>
                    <a:pt x="289" y="298"/>
                    <a:pt x="263" y="314"/>
                    <a:pt x="115" y="314"/>
                  </a:cubicBezTo>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3" name="Freeform 44"/>
            <p:cNvSpPr>
              <a:spLocks noChangeArrowheads="1"/>
            </p:cNvSpPr>
            <p:nvPr/>
          </p:nvSpPr>
          <p:spPr bwMode="auto">
            <a:xfrm>
              <a:off x="6343650" y="1731962"/>
              <a:ext cx="431800" cy="649287"/>
            </a:xfrm>
            <a:custGeom>
              <a:avLst/>
              <a:gdLst>
                <a:gd name="T0" fmla="*/ 1352 w 1398"/>
                <a:gd name="T1" fmla="*/ 121 h 2109"/>
                <a:gd name="T2" fmla="*/ 1352 w 1398"/>
                <a:gd name="T3" fmla="*/ 121 h 2109"/>
                <a:gd name="T4" fmla="*/ 1313 w 1398"/>
                <a:gd name="T5" fmla="*/ 195 h 2109"/>
                <a:gd name="T6" fmla="*/ 1216 w 1398"/>
                <a:gd name="T7" fmla="*/ 190 h 2109"/>
                <a:gd name="T8" fmla="*/ 1101 w 1398"/>
                <a:gd name="T9" fmla="*/ 184 h 2109"/>
                <a:gd name="T10" fmla="*/ 1069 w 1398"/>
                <a:gd name="T11" fmla="*/ 184 h 2109"/>
                <a:gd name="T12" fmla="*/ 1157 w 1398"/>
                <a:gd name="T13" fmla="*/ 434 h 2109"/>
                <a:gd name="T14" fmla="*/ 626 w 1398"/>
                <a:gd name="T15" fmla="*/ 895 h 2109"/>
                <a:gd name="T16" fmla="*/ 492 w 1398"/>
                <a:gd name="T17" fmla="*/ 880 h 2109"/>
                <a:gd name="T18" fmla="*/ 388 w 1398"/>
                <a:gd name="T19" fmla="*/ 1033 h 2109"/>
                <a:gd name="T20" fmla="*/ 492 w 1398"/>
                <a:gd name="T21" fmla="*/ 1160 h 2109"/>
                <a:gd name="T22" fmla="*/ 741 w 1398"/>
                <a:gd name="T23" fmla="*/ 1199 h 2109"/>
                <a:gd name="T24" fmla="*/ 885 w 1398"/>
                <a:gd name="T25" fmla="*/ 1199 h 2109"/>
                <a:gd name="T26" fmla="*/ 1162 w 1398"/>
                <a:gd name="T27" fmla="*/ 1262 h 2109"/>
                <a:gd name="T28" fmla="*/ 1321 w 1398"/>
                <a:gd name="T29" fmla="*/ 1568 h 2109"/>
                <a:gd name="T30" fmla="*/ 598 w 1398"/>
                <a:gd name="T31" fmla="*/ 2108 h 2109"/>
                <a:gd name="T32" fmla="*/ 0 w 1398"/>
                <a:gd name="T33" fmla="*/ 1711 h 2109"/>
                <a:gd name="T34" fmla="*/ 23 w 1398"/>
                <a:gd name="T35" fmla="*/ 1594 h 2109"/>
                <a:gd name="T36" fmla="*/ 77 w 1398"/>
                <a:gd name="T37" fmla="*/ 1501 h 2109"/>
                <a:gd name="T38" fmla="*/ 160 w 1398"/>
                <a:gd name="T39" fmla="*/ 1430 h 2109"/>
                <a:gd name="T40" fmla="*/ 241 w 1398"/>
                <a:gd name="T41" fmla="*/ 1381 h 2109"/>
                <a:gd name="T42" fmla="*/ 334 w 1398"/>
                <a:gd name="T43" fmla="*/ 1324 h 2109"/>
                <a:gd name="T44" fmla="*/ 285 w 1398"/>
                <a:gd name="T45" fmla="*/ 1298 h 2109"/>
                <a:gd name="T46" fmla="*/ 140 w 1398"/>
                <a:gd name="T47" fmla="*/ 1113 h 2109"/>
                <a:gd name="T48" fmla="*/ 259 w 1398"/>
                <a:gd name="T49" fmla="*/ 934 h 2109"/>
                <a:gd name="T50" fmla="*/ 376 w 1398"/>
                <a:gd name="T51" fmla="*/ 843 h 2109"/>
                <a:gd name="T52" fmla="*/ 255 w 1398"/>
                <a:gd name="T53" fmla="*/ 765 h 2109"/>
                <a:gd name="T54" fmla="*/ 129 w 1398"/>
                <a:gd name="T55" fmla="*/ 452 h 2109"/>
                <a:gd name="T56" fmla="*/ 663 w 1398"/>
                <a:gd name="T57" fmla="*/ 0 h 2109"/>
                <a:gd name="T58" fmla="*/ 896 w 1398"/>
                <a:gd name="T59" fmla="*/ 41 h 2109"/>
                <a:gd name="T60" fmla="*/ 1147 w 1398"/>
                <a:gd name="T61" fmla="*/ 41 h 2109"/>
                <a:gd name="T62" fmla="*/ 1380 w 1398"/>
                <a:gd name="T63" fmla="*/ 29 h 2109"/>
                <a:gd name="T64" fmla="*/ 1397 w 1398"/>
                <a:gd name="T65" fmla="*/ 46 h 2109"/>
                <a:gd name="T66" fmla="*/ 1352 w 1398"/>
                <a:gd name="T67" fmla="*/ 121 h 2109"/>
                <a:gd name="T68" fmla="*/ 1010 w 1398"/>
                <a:gd name="T69" fmla="*/ 1458 h 2109"/>
                <a:gd name="T70" fmla="*/ 1010 w 1398"/>
                <a:gd name="T71" fmla="*/ 1458 h 2109"/>
                <a:gd name="T72" fmla="*/ 609 w 1398"/>
                <a:gd name="T73" fmla="*/ 1392 h 2109"/>
                <a:gd name="T74" fmla="*/ 583 w 1398"/>
                <a:gd name="T75" fmla="*/ 1392 h 2109"/>
                <a:gd name="T76" fmla="*/ 388 w 1398"/>
                <a:gd name="T77" fmla="*/ 1426 h 2109"/>
                <a:gd name="T78" fmla="*/ 222 w 1398"/>
                <a:gd name="T79" fmla="*/ 1679 h 2109"/>
                <a:gd name="T80" fmla="*/ 641 w 1398"/>
                <a:gd name="T81" fmla="*/ 1979 h 2109"/>
                <a:gd name="T82" fmla="*/ 1095 w 1398"/>
                <a:gd name="T83" fmla="*/ 1651 h 2109"/>
                <a:gd name="T84" fmla="*/ 1010 w 1398"/>
                <a:gd name="T85" fmla="*/ 1458 h 2109"/>
                <a:gd name="T86" fmla="*/ 632 w 1398"/>
                <a:gd name="T87" fmla="*/ 124 h 2109"/>
                <a:gd name="T88" fmla="*/ 632 w 1398"/>
                <a:gd name="T89" fmla="*/ 124 h 2109"/>
                <a:gd name="T90" fmla="*/ 598 w 1398"/>
                <a:gd name="T91" fmla="*/ 126 h 2109"/>
                <a:gd name="T92" fmla="*/ 371 w 1398"/>
                <a:gd name="T93" fmla="*/ 421 h 2109"/>
                <a:gd name="T94" fmla="*/ 652 w 1398"/>
                <a:gd name="T95" fmla="*/ 771 h 2109"/>
                <a:gd name="T96" fmla="*/ 917 w 1398"/>
                <a:gd name="T97" fmla="*/ 475 h 2109"/>
                <a:gd name="T98" fmla="*/ 632 w 1398"/>
                <a:gd name="T99" fmla="*/ 124 h 2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98" h="2109">
                  <a:moveTo>
                    <a:pt x="1352" y="121"/>
                  </a:moveTo>
                  <a:lnTo>
                    <a:pt x="1352" y="121"/>
                  </a:lnTo>
                  <a:cubicBezTo>
                    <a:pt x="1313" y="195"/>
                    <a:pt x="1313" y="195"/>
                    <a:pt x="1313" y="195"/>
                  </a:cubicBezTo>
                  <a:cubicBezTo>
                    <a:pt x="1216" y="190"/>
                    <a:pt x="1216" y="190"/>
                    <a:pt x="1216" y="190"/>
                  </a:cubicBezTo>
                  <a:cubicBezTo>
                    <a:pt x="1101" y="184"/>
                    <a:pt x="1101" y="184"/>
                    <a:pt x="1101" y="184"/>
                  </a:cubicBezTo>
                  <a:cubicBezTo>
                    <a:pt x="1069" y="184"/>
                    <a:pt x="1069" y="184"/>
                    <a:pt x="1069" y="184"/>
                  </a:cubicBezTo>
                  <a:cubicBezTo>
                    <a:pt x="1136" y="273"/>
                    <a:pt x="1157" y="327"/>
                    <a:pt x="1157" y="434"/>
                  </a:cubicBezTo>
                  <a:cubicBezTo>
                    <a:pt x="1157" y="707"/>
                    <a:pt x="943" y="895"/>
                    <a:pt x="626" y="895"/>
                  </a:cubicBezTo>
                  <a:cubicBezTo>
                    <a:pt x="576" y="895"/>
                    <a:pt x="552" y="892"/>
                    <a:pt x="492" y="880"/>
                  </a:cubicBezTo>
                  <a:cubicBezTo>
                    <a:pt x="414" y="944"/>
                    <a:pt x="388" y="981"/>
                    <a:pt x="388" y="1033"/>
                  </a:cubicBezTo>
                  <a:cubicBezTo>
                    <a:pt x="388" y="1091"/>
                    <a:pt x="429" y="1136"/>
                    <a:pt x="492" y="1160"/>
                  </a:cubicBezTo>
                  <a:cubicBezTo>
                    <a:pt x="550" y="1178"/>
                    <a:pt x="609" y="1197"/>
                    <a:pt x="741" y="1199"/>
                  </a:cubicBezTo>
                  <a:cubicBezTo>
                    <a:pt x="820" y="1203"/>
                    <a:pt x="866" y="1199"/>
                    <a:pt x="885" y="1199"/>
                  </a:cubicBezTo>
                  <a:cubicBezTo>
                    <a:pt x="1015" y="1203"/>
                    <a:pt x="1095" y="1223"/>
                    <a:pt x="1162" y="1262"/>
                  </a:cubicBezTo>
                  <a:cubicBezTo>
                    <a:pt x="1263" y="1325"/>
                    <a:pt x="1321" y="1437"/>
                    <a:pt x="1321" y="1568"/>
                  </a:cubicBezTo>
                  <a:cubicBezTo>
                    <a:pt x="1321" y="1890"/>
                    <a:pt x="1026" y="2108"/>
                    <a:pt x="598" y="2108"/>
                  </a:cubicBezTo>
                  <a:cubicBezTo>
                    <a:pt x="241" y="2108"/>
                    <a:pt x="0" y="1949"/>
                    <a:pt x="0" y="1711"/>
                  </a:cubicBezTo>
                  <a:cubicBezTo>
                    <a:pt x="0" y="1668"/>
                    <a:pt x="8" y="1627"/>
                    <a:pt x="23" y="1594"/>
                  </a:cubicBezTo>
                  <a:cubicBezTo>
                    <a:pt x="34" y="1558"/>
                    <a:pt x="54" y="1530"/>
                    <a:pt x="77" y="1501"/>
                  </a:cubicBezTo>
                  <a:cubicBezTo>
                    <a:pt x="103" y="1476"/>
                    <a:pt x="133" y="1450"/>
                    <a:pt x="160" y="1430"/>
                  </a:cubicBezTo>
                  <a:cubicBezTo>
                    <a:pt x="172" y="1424"/>
                    <a:pt x="198" y="1406"/>
                    <a:pt x="241" y="1381"/>
                  </a:cubicBezTo>
                  <a:cubicBezTo>
                    <a:pt x="334" y="1324"/>
                    <a:pt x="334" y="1324"/>
                    <a:pt x="334" y="1324"/>
                  </a:cubicBezTo>
                  <a:cubicBezTo>
                    <a:pt x="285" y="1298"/>
                    <a:pt x="285" y="1298"/>
                    <a:pt x="285" y="1298"/>
                  </a:cubicBezTo>
                  <a:cubicBezTo>
                    <a:pt x="192" y="1249"/>
                    <a:pt x="144" y="1182"/>
                    <a:pt x="140" y="1113"/>
                  </a:cubicBezTo>
                  <a:cubicBezTo>
                    <a:pt x="140" y="1046"/>
                    <a:pt x="181" y="996"/>
                    <a:pt x="259" y="934"/>
                  </a:cubicBezTo>
                  <a:cubicBezTo>
                    <a:pt x="376" y="843"/>
                    <a:pt x="376" y="843"/>
                    <a:pt x="376" y="843"/>
                  </a:cubicBezTo>
                  <a:cubicBezTo>
                    <a:pt x="313" y="808"/>
                    <a:pt x="287" y="797"/>
                    <a:pt x="255" y="765"/>
                  </a:cubicBezTo>
                  <a:cubicBezTo>
                    <a:pt x="175" y="692"/>
                    <a:pt x="129" y="573"/>
                    <a:pt x="129" y="452"/>
                  </a:cubicBezTo>
                  <a:cubicBezTo>
                    <a:pt x="129" y="180"/>
                    <a:pt x="345" y="0"/>
                    <a:pt x="663" y="0"/>
                  </a:cubicBezTo>
                  <a:cubicBezTo>
                    <a:pt x="753" y="0"/>
                    <a:pt x="810" y="11"/>
                    <a:pt x="896" y="41"/>
                  </a:cubicBezTo>
                  <a:cubicBezTo>
                    <a:pt x="1147" y="41"/>
                    <a:pt x="1147" y="41"/>
                    <a:pt x="1147" y="41"/>
                  </a:cubicBezTo>
                  <a:cubicBezTo>
                    <a:pt x="1268" y="41"/>
                    <a:pt x="1289" y="41"/>
                    <a:pt x="1380" y="29"/>
                  </a:cubicBezTo>
                  <a:cubicBezTo>
                    <a:pt x="1397" y="46"/>
                    <a:pt x="1397" y="46"/>
                    <a:pt x="1397" y="46"/>
                  </a:cubicBezTo>
                  <a:lnTo>
                    <a:pt x="1352" y="121"/>
                  </a:lnTo>
                  <a:close/>
                  <a:moveTo>
                    <a:pt x="1010" y="1458"/>
                  </a:moveTo>
                  <a:lnTo>
                    <a:pt x="1010" y="1458"/>
                  </a:lnTo>
                  <a:cubicBezTo>
                    <a:pt x="943" y="1409"/>
                    <a:pt x="866" y="1392"/>
                    <a:pt x="609" y="1392"/>
                  </a:cubicBezTo>
                  <a:cubicBezTo>
                    <a:pt x="583" y="1392"/>
                    <a:pt x="583" y="1392"/>
                    <a:pt x="583" y="1392"/>
                  </a:cubicBezTo>
                  <a:cubicBezTo>
                    <a:pt x="473" y="1392"/>
                    <a:pt x="440" y="1398"/>
                    <a:pt x="388" y="1426"/>
                  </a:cubicBezTo>
                  <a:cubicBezTo>
                    <a:pt x="282" y="1487"/>
                    <a:pt x="222" y="1579"/>
                    <a:pt x="222" y="1679"/>
                  </a:cubicBezTo>
                  <a:cubicBezTo>
                    <a:pt x="222" y="1867"/>
                    <a:pt x="382" y="1979"/>
                    <a:pt x="641" y="1979"/>
                  </a:cubicBezTo>
                  <a:cubicBezTo>
                    <a:pt x="911" y="1979"/>
                    <a:pt x="1095" y="1847"/>
                    <a:pt x="1095" y="1651"/>
                  </a:cubicBezTo>
                  <a:cubicBezTo>
                    <a:pt x="1095" y="1571"/>
                    <a:pt x="1064" y="1501"/>
                    <a:pt x="1010" y="1458"/>
                  </a:cubicBezTo>
                  <a:close/>
                  <a:moveTo>
                    <a:pt x="632" y="124"/>
                  </a:moveTo>
                  <a:lnTo>
                    <a:pt x="632" y="124"/>
                  </a:lnTo>
                  <a:cubicBezTo>
                    <a:pt x="620" y="124"/>
                    <a:pt x="609" y="126"/>
                    <a:pt x="598" y="126"/>
                  </a:cubicBezTo>
                  <a:cubicBezTo>
                    <a:pt x="455" y="147"/>
                    <a:pt x="371" y="253"/>
                    <a:pt x="371" y="421"/>
                  </a:cubicBezTo>
                  <a:cubicBezTo>
                    <a:pt x="371" y="627"/>
                    <a:pt x="486" y="771"/>
                    <a:pt x="652" y="771"/>
                  </a:cubicBezTo>
                  <a:cubicBezTo>
                    <a:pt x="814" y="771"/>
                    <a:pt x="917" y="653"/>
                    <a:pt x="917" y="475"/>
                  </a:cubicBezTo>
                  <a:cubicBezTo>
                    <a:pt x="917" y="268"/>
                    <a:pt x="799" y="124"/>
                    <a:pt x="632" y="124"/>
                  </a:cubicBez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4" name="Freeform 45"/>
            <p:cNvSpPr>
              <a:spLocks noChangeArrowheads="1"/>
            </p:cNvSpPr>
            <p:nvPr/>
          </p:nvSpPr>
          <p:spPr bwMode="auto">
            <a:xfrm>
              <a:off x="3233738" y="1728787"/>
              <a:ext cx="361950" cy="450850"/>
            </a:xfrm>
            <a:custGeom>
              <a:avLst/>
              <a:gdLst>
                <a:gd name="T0" fmla="*/ 1168 w 1171"/>
                <a:gd name="T1" fmla="*/ 599 h 1466"/>
                <a:gd name="T2" fmla="*/ 1168 w 1171"/>
                <a:gd name="T3" fmla="*/ 599 h 1466"/>
                <a:gd name="T4" fmla="*/ 1142 w 1171"/>
                <a:gd name="T5" fmla="*/ 629 h 1466"/>
                <a:gd name="T6" fmla="*/ 991 w 1171"/>
                <a:gd name="T7" fmla="*/ 629 h 1466"/>
                <a:gd name="T8" fmla="*/ 682 w 1171"/>
                <a:gd name="T9" fmla="*/ 631 h 1466"/>
                <a:gd name="T10" fmla="*/ 386 w 1171"/>
                <a:gd name="T11" fmla="*/ 636 h 1466"/>
                <a:gd name="T12" fmla="*/ 240 w 1171"/>
                <a:gd name="T13" fmla="*/ 646 h 1466"/>
                <a:gd name="T14" fmla="*/ 240 w 1171"/>
                <a:gd name="T15" fmla="*/ 661 h 1466"/>
                <a:gd name="T16" fmla="*/ 782 w 1171"/>
                <a:gd name="T17" fmla="*/ 1279 h 1466"/>
                <a:gd name="T18" fmla="*/ 903 w 1171"/>
                <a:gd name="T19" fmla="*/ 1270 h 1466"/>
                <a:gd name="T20" fmla="*/ 1110 w 1171"/>
                <a:gd name="T21" fmla="*/ 1180 h 1466"/>
                <a:gd name="T22" fmla="*/ 1136 w 1171"/>
                <a:gd name="T23" fmla="*/ 1195 h 1466"/>
                <a:gd name="T24" fmla="*/ 1101 w 1171"/>
                <a:gd name="T25" fmla="*/ 1290 h 1466"/>
                <a:gd name="T26" fmla="*/ 1073 w 1171"/>
                <a:gd name="T27" fmla="*/ 1391 h 1466"/>
                <a:gd name="T28" fmla="*/ 989 w 1171"/>
                <a:gd name="T29" fmla="*/ 1420 h 1466"/>
                <a:gd name="T30" fmla="*/ 676 w 1171"/>
                <a:gd name="T31" fmla="*/ 1465 h 1466"/>
                <a:gd name="T32" fmla="*/ 177 w 1171"/>
                <a:gd name="T33" fmla="*/ 1262 h 1466"/>
                <a:gd name="T34" fmla="*/ 0 w 1171"/>
                <a:gd name="T35" fmla="*/ 750 h 1466"/>
                <a:gd name="T36" fmla="*/ 661 w 1171"/>
                <a:gd name="T37" fmla="*/ 0 h 1466"/>
                <a:gd name="T38" fmla="*/ 1170 w 1171"/>
                <a:gd name="T39" fmla="*/ 508 h 1466"/>
                <a:gd name="T40" fmla="*/ 1168 w 1171"/>
                <a:gd name="T41" fmla="*/ 599 h 1466"/>
                <a:gd name="T42" fmla="*/ 626 w 1171"/>
                <a:gd name="T43" fmla="*/ 132 h 1466"/>
                <a:gd name="T44" fmla="*/ 626 w 1171"/>
                <a:gd name="T45" fmla="*/ 132 h 1466"/>
                <a:gd name="T46" fmla="*/ 250 w 1171"/>
                <a:gd name="T47" fmla="*/ 499 h 1466"/>
                <a:gd name="T48" fmla="*/ 456 w 1171"/>
                <a:gd name="T49" fmla="*/ 497 h 1466"/>
                <a:gd name="T50" fmla="*/ 710 w 1171"/>
                <a:gd name="T51" fmla="*/ 491 h 1466"/>
                <a:gd name="T52" fmla="*/ 911 w 1171"/>
                <a:gd name="T53" fmla="*/ 370 h 1466"/>
                <a:gd name="T54" fmla="*/ 626 w 1171"/>
                <a:gd name="T55" fmla="*/ 132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1" h="1466">
                  <a:moveTo>
                    <a:pt x="1168" y="599"/>
                  </a:moveTo>
                  <a:lnTo>
                    <a:pt x="1168" y="599"/>
                  </a:lnTo>
                  <a:cubicBezTo>
                    <a:pt x="1142" y="629"/>
                    <a:pt x="1142" y="629"/>
                    <a:pt x="1142" y="629"/>
                  </a:cubicBezTo>
                  <a:cubicBezTo>
                    <a:pt x="991" y="629"/>
                    <a:pt x="991" y="629"/>
                    <a:pt x="991" y="629"/>
                  </a:cubicBezTo>
                  <a:cubicBezTo>
                    <a:pt x="682" y="631"/>
                    <a:pt x="682" y="631"/>
                    <a:pt x="682" y="631"/>
                  </a:cubicBezTo>
                  <a:cubicBezTo>
                    <a:pt x="386" y="636"/>
                    <a:pt x="386" y="636"/>
                    <a:pt x="386" y="636"/>
                  </a:cubicBezTo>
                  <a:cubicBezTo>
                    <a:pt x="240" y="646"/>
                    <a:pt x="240" y="646"/>
                    <a:pt x="240" y="646"/>
                  </a:cubicBezTo>
                  <a:cubicBezTo>
                    <a:pt x="240" y="661"/>
                    <a:pt x="240" y="661"/>
                    <a:pt x="240" y="661"/>
                  </a:cubicBezTo>
                  <a:cubicBezTo>
                    <a:pt x="240" y="1052"/>
                    <a:pt x="440" y="1279"/>
                    <a:pt x="782" y="1279"/>
                  </a:cubicBezTo>
                  <a:cubicBezTo>
                    <a:pt x="825" y="1279"/>
                    <a:pt x="864" y="1275"/>
                    <a:pt x="903" y="1270"/>
                  </a:cubicBezTo>
                  <a:cubicBezTo>
                    <a:pt x="980" y="1257"/>
                    <a:pt x="1021" y="1238"/>
                    <a:pt x="1110" y="1180"/>
                  </a:cubicBezTo>
                  <a:cubicBezTo>
                    <a:pt x="1136" y="1195"/>
                    <a:pt x="1136" y="1195"/>
                    <a:pt x="1136" y="1195"/>
                  </a:cubicBezTo>
                  <a:cubicBezTo>
                    <a:pt x="1101" y="1290"/>
                    <a:pt x="1101" y="1290"/>
                    <a:pt x="1101" y="1290"/>
                  </a:cubicBezTo>
                  <a:cubicBezTo>
                    <a:pt x="1073" y="1391"/>
                    <a:pt x="1073" y="1391"/>
                    <a:pt x="1073" y="1391"/>
                  </a:cubicBezTo>
                  <a:cubicBezTo>
                    <a:pt x="1036" y="1405"/>
                    <a:pt x="1006" y="1413"/>
                    <a:pt x="989" y="1420"/>
                  </a:cubicBezTo>
                  <a:cubicBezTo>
                    <a:pt x="896" y="1448"/>
                    <a:pt x="782" y="1465"/>
                    <a:pt x="676" y="1465"/>
                  </a:cubicBezTo>
                  <a:cubicBezTo>
                    <a:pt x="456" y="1465"/>
                    <a:pt x="296" y="1400"/>
                    <a:pt x="177" y="1262"/>
                  </a:cubicBezTo>
                  <a:cubicBezTo>
                    <a:pt x="64" y="1126"/>
                    <a:pt x="0" y="942"/>
                    <a:pt x="0" y="750"/>
                  </a:cubicBezTo>
                  <a:cubicBezTo>
                    <a:pt x="0" y="313"/>
                    <a:pt x="276" y="0"/>
                    <a:pt x="661" y="0"/>
                  </a:cubicBezTo>
                  <a:cubicBezTo>
                    <a:pt x="974" y="0"/>
                    <a:pt x="1170" y="195"/>
                    <a:pt x="1170" y="508"/>
                  </a:cubicBezTo>
                  <a:cubicBezTo>
                    <a:pt x="1170" y="530"/>
                    <a:pt x="1170" y="555"/>
                    <a:pt x="1168" y="599"/>
                  </a:cubicBezTo>
                  <a:close/>
                  <a:moveTo>
                    <a:pt x="626" y="132"/>
                  </a:moveTo>
                  <a:lnTo>
                    <a:pt x="626" y="132"/>
                  </a:lnTo>
                  <a:cubicBezTo>
                    <a:pt x="417" y="132"/>
                    <a:pt x="283" y="260"/>
                    <a:pt x="250" y="499"/>
                  </a:cubicBezTo>
                  <a:cubicBezTo>
                    <a:pt x="456" y="497"/>
                    <a:pt x="456" y="497"/>
                    <a:pt x="456" y="497"/>
                  </a:cubicBezTo>
                  <a:cubicBezTo>
                    <a:pt x="710" y="491"/>
                    <a:pt x="710" y="491"/>
                    <a:pt x="710" y="491"/>
                  </a:cubicBezTo>
                  <a:cubicBezTo>
                    <a:pt x="853" y="488"/>
                    <a:pt x="911" y="450"/>
                    <a:pt x="911" y="370"/>
                  </a:cubicBezTo>
                  <a:cubicBezTo>
                    <a:pt x="911" y="238"/>
                    <a:pt x="782" y="132"/>
                    <a:pt x="626" y="132"/>
                  </a:cubicBez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5" name="Freeform 46"/>
            <p:cNvSpPr>
              <a:spLocks noChangeArrowheads="1"/>
            </p:cNvSpPr>
            <p:nvPr/>
          </p:nvSpPr>
          <p:spPr bwMode="auto">
            <a:xfrm>
              <a:off x="4535488" y="1727199"/>
              <a:ext cx="361950" cy="452438"/>
            </a:xfrm>
            <a:custGeom>
              <a:avLst/>
              <a:gdLst>
                <a:gd name="T0" fmla="*/ 1168 w 1172"/>
                <a:gd name="T1" fmla="*/ 601 h 1468"/>
                <a:gd name="T2" fmla="*/ 1168 w 1172"/>
                <a:gd name="T3" fmla="*/ 601 h 1468"/>
                <a:gd name="T4" fmla="*/ 1143 w 1172"/>
                <a:gd name="T5" fmla="*/ 631 h 1468"/>
                <a:gd name="T6" fmla="*/ 992 w 1172"/>
                <a:gd name="T7" fmla="*/ 631 h 1468"/>
                <a:gd name="T8" fmla="*/ 682 w 1172"/>
                <a:gd name="T9" fmla="*/ 633 h 1468"/>
                <a:gd name="T10" fmla="*/ 385 w 1172"/>
                <a:gd name="T11" fmla="*/ 638 h 1468"/>
                <a:gd name="T12" fmla="*/ 242 w 1172"/>
                <a:gd name="T13" fmla="*/ 648 h 1468"/>
                <a:gd name="T14" fmla="*/ 242 w 1172"/>
                <a:gd name="T15" fmla="*/ 663 h 1468"/>
                <a:gd name="T16" fmla="*/ 782 w 1172"/>
                <a:gd name="T17" fmla="*/ 1281 h 1468"/>
                <a:gd name="T18" fmla="*/ 903 w 1172"/>
                <a:gd name="T19" fmla="*/ 1272 h 1468"/>
                <a:gd name="T20" fmla="*/ 1112 w 1172"/>
                <a:gd name="T21" fmla="*/ 1182 h 1468"/>
                <a:gd name="T22" fmla="*/ 1136 w 1172"/>
                <a:gd name="T23" fmla="*/ 1197 h 1468"/>
                <a:gd name="T24" fmla="*/ 1102 w 1172"/>
                <a:gd name="T25" fmla="*/ 1292 h 1468"/>
                <a:gd name="T26" fmla="*/ 1073 w 1172"/>
                <a:gd name="T27" fmla="*/ 1393 h 1468"/>
                <a:gd name="T28" fmla="*/ 991 w 1172"/>
                <a:gd name="T29" fmla="*/ 1421 h 1468"/>
                <a:gd name="T30" fmla="*/ 676 w 1172"/>
                <a:gd name="T31" fmla="*/ 1467 h 1468"/>
                <a:gd name="T32" fmla="*/ 179 w 1172"/>
                <a:gd name="T33" fmla="*/ 1262 h 1468"/>
                <a:gd name="T34" fmla="*/ 0 w 1172"/>
                <a:gd name="T35" fmla="*/ 752 h 1468"/>
                <a:gd name="T36" fmla="*/ 663 w 1172"/>
                <a:gd name="T37" fmla="*/ 0 h 1468"/>
                <a:gd name="T38" fmla="*/ 1171 w 1172"/>
                <a:gd name="T39" fmla="*/ 510 h 1468"/>
                <a:gd name="T40" fmla="*/ 1168 w 1172"/>
                <a:gd name="T41" fmla="*/ 601 h 1468"/>
                <a:gd name="T42" fmla="*/ 628 w 1172"/>
                <a:gd name="T43" fmla="*/ 132 h 1468"/>
                <a:gd name="T44" fmla="*/ 628 w 1172"/>
                <a:gd name="T45" fmla="*/ 132 h 1468"/>
                <a:gd name="T46" fmla="*/ 251 w 1172"/>
                <a:gd name="T47" fmla="*/ 501 h 1468"/>
                <a:gd name="T48" fmla="*/ 458 w 1172"/>
                <a:gd name="T49" fmla="*/ 499 h 1468"/>
                <a:gd name="T50" fmla="*/ 711 w 1172"/>
                <a:gd name="T51" fmla="*/ 493 h 1468"/>
                <a:gd name="T52" fmla="*/ 912 w 1172"/>
                <a:gd name="T53" fmla="*/ 372 h 1468"/>
                <a:gd name="T54" fmla="*/ 628 w 1172"/>
                <a:gd name="T55" fmla="*/ 132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2" h="1468">
                  <a:moveTo>
                    <a:pt x="1168" y="601"/>
                  </a:moveTo>
                  <a:lnTo>
                    <a:pt x="1168" y="601"/>
                  </a:lnTo>
                  <a:cubicBezTo>
                    <a:pt x="1143" y="631"/>
                    <a:pt x="1143" y="631"/>
                    <a:pt x="1143" y="631"/>
                  </a:cubicBezTo>
                  <a:cubicBezTo>
                    <a:pt x="992" y="631"/>
                    <a:pt x="992" y="631"/>
                    <a:pt x="992" y="631"/>
                  </a:cubicBezTo>
                  <a:cubicBezTo>
                    <a:pt x="682" y="633"/>
                    <a:pt x="682" y="633"/>
                    <a:pt x="682" y="633"/>
                  </a:cubicBezTo>
                  <a:cubicBezTo>
                    <a:pt x="385" y="638"/>
                    <a:pt x="385" y="638"/>
                    <a:pt x="385" y="638"/>
                  </a:cubicBezTo>
                  <a:cubicBezTo>
                    <a:pt x="242" y="648"/>
                    <a:pt x="242" y="648"/>
                    <a:pt x="242" y="648"/>
                  </a:cubicBezTo>
                  <a:cubicBezTo>
                    <a:pt x="242" y="663"/>
                    <a:pt x="242" y="663"/>
                    <a:pt x="242" y="663"/>
                  </a:cubicBezTo>
                  <a:cubicBezTo>
                    <a:pt x="242" y="1054"/>
                    <a:pt x="441" y="1281"/>
                    <a:pt x="782" y="1281"/>
                  </a:cubicBezTo>
                  <a:cubicBezTo>
                    <a:pt x="827" y="1281"/>
                    <a:pt x="866" y="1277"/>
                    <a:pt x="903" y="1272"/>
                  </a:cubicBezTo>
                  <a:cubicBezTo>
                    <a:pt x="981" y="1257"/>
                    <a:pt x="1022" y="1240"/>
                    <a:pt x="1112" y="1182"/>
                  </a:cubicBezTo>
                  <a:cubicBezTo>
                    <a:pt x="1136" y="1197"/>
                    <a:pt x="1136" y="1197"/>
                    <a:pt x="1136" y="1197"/>
                  </a:cubicBezTo>
                  <a:cubicBezTo>
                    <a:pt x="1102" y="1292"/>
                    <a:pt x="1102" y="1292"/>
                    <a:pt x="1102" y="1292"/>
                  </a:cubicBezTo>
                  <a:cubicBezTo>
                    <a:pt x="1073" y="1393"/>
                    <a:pt x="1073" y="1393"/>
                    <a:pt x="1073" y="1393"/>
                  </a:cubicBezTo>
                  <a:cubicBezTo>
                    <a:pt x="1035" y="1407"/>
                    <a:pt x="1007" y="1415"/>
                    <a:pt x="991" y="1421"/>
                  </a:cubicBezTo>
                  <a:cubicBezTo>
                    <a:pt x="898" y="1450"/>
                    <a:pt x="782" y="1467"/>
                    <a:pt x="676" y="1467"/>
                  </a:cubicBezTo>
                  <a:cubicBezTo>
                    <a:pt x="458" y="1467"/>
                    <a:pt x="296" y="1402"/>
                    <a:pt x="179" y="1262"/>
                  </a:cubicBezTo>
                  <a:cubicBezTo>
                    <a:pt x="63" y="1128"/>
                    <a:pt x="0" y="944"/>
                    <a:pt x="0" y="752"/>
                  </a:cubicBezTo>
                  <a:cubicBezTo>
                    <a:pt x="0" y="315"/>
                    <a:pt x="277" y="0"/>
                    <a:pt x="663" y="0"/>
                  </a:cubicBezTo>
                  <a:cubicBezTo>
                    <a:pt x="976" y="0"/>
                    <a:pt x="1171" y="195"/>
                    <a:pt x="1171" y="510"/>
                  </a:cubicBezTo>
                  <a:cubicBezTo>
                    <a:pt x="1171" y="532"/>
                    <a:pt x="1171" y="557"/>
                    <a:pt x="1168" y="601"/>
                  </a:cubicBezTo>
                  <a:close/>
                  <a:moveTo>
                    <a:pt x="628" y="132"/>
                  </a:moveTo>
                  <a:lnTo>
                    <a:pt x="628" y="132"/>
                  </a:lnTo>
                  <a:cubicBezTo>
                    <a:pt x="417" y="132"/>
                    <a:pt x="285" y="262"/>
                    <a:pt x="251" y="501"/>
                  </a:cubicBezTo>
                  <a:cubicBezTo>
                    <a:pt x="458" y="499"/>
                    <a:pt x="458" y="499"/>
                    <a:pt x="458" y="499"/>
                  </a:cubicBezTo>
                  <a:cubicBezTo>
                    <a:pt x="711" y="493"/>
                    <a:pt x="711" y="493"/>
                    <a:pt x="711" y="493"/>
                  </a:cubicBezTo>
                  <a:cubicBezTo>
                    <a:pt x="855" y="490"/>
                    <a:pt x="912" y="452"/>
                    <a:pt x="912" y="372"/>
                  </a:cubicBezTo>
                  <a:cubicBezTo>
                    <a:pt x="912" y="240"/>
                    <a:pt x="782" y="132"/>
                    <a:pt x="628" y="132"/>
                  </a:cubicBez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6" name="Freeform 47"/>
            <p:cNvSpPr>
              <a:spLocks noChangeArrowheads="1"/>
            </p:cNvSpPr>
            <p:nvPr/>
          </p:nvSpPr>
          <p:spPr bwMode="auto">
            <a:xfrm>
              <a:off x="8831263" y="1727199"/>
              <a:ext cx="361950" cy="452438"/>
            </a:xfrm>
            <a:custGeom>
              <a:avLst/>
              <a:gdLst>
                <a:gd name="T0" fmla="*/ 1169 w 1172"/>
                <a:gd name="T1" fmla="*/ 601 h 1468"/>
                <a:gd name="T2" fmla="*/ 1169 w 1172"/>
                <a:gd name="T3" fmla="*/ 601 h 1468"/>
                <a:gd name="T4" fmla="*/ 1143 w 1172"/>
                <a:gd name="T5" fmla="*/ 631 h 1468"/>
                <a:gd name="T6" fmla="*/ 992 w 1172"/>
                <a:gd name="T7" fmla="*/ 631 h 1468"/>
                <a:gd name="T8" fmla="*/ 683 w 1172"/>
                <a:gd name="T9" fmla="*/ 633 h 1468"/>
                <a:gd name="T10" fmla="*/ 385 w 1172"/>
                <a:gd name="T11" fmla="*/ 638 h 1468"/>
                <a:gd name="T12" fmla="*/ 242 w 1172"/>
                <a:gd name="T13" fmla="*/ 648 h 1468"/>
                <a:gd name="T14" fmla="*/ 242 w 1172"/>
                <a:gd name="T15" fmla="*/ 663 h 1468"/>
                <a:gd name="T16" fmla="*/ 784 w 1172"/>
                <a:gd name="T17" fmla="*/ 1281 h 1468"/>
                <a:gd name="T18" fmla="*/ 903 w 1172"/>
                <a:gd name="T19" fmla="*/ 1272 h 1468"/>
                <a:gd name="T20" fmla="*/ 1111 w 1172"/>
                <a:gd name="T21" fmla="*/ 1182 h 1468"/>
                <a:gd name="T22" fmla="*/ 1137 w 1172"/>
                <a:gd name="T23" fmla="*/ 1197 h 1468"/>
                <a:gd name="T24" fmla="*/ 1102 w 1172"/>
                <a:gd name="T25" fmla="*/ 1292 h 1468"/>
                <a:gd name="T26" fmla="*/ 1074 w 1172"/>
                <a:gd name="T27" fmla="*/ 1393 h 1468"/>
                <a:gd name="T28" fmla="*/ 990 w 1172"/>
                <a:gd name="T29" fmla="*/ 1421 h 1468"/>
                <a:gd name="T30" fmla="*/ 676 w 1172"/>
                <a:gd name="T31" fmla="*/ 1467 h 1468"/>
                <a:gd name="T32" fmla="*/ 178 w 1172"/>
                <a:gd name="T33" fmla="*/ 1262 h 1468"/>
                <a:gd name="T34" fmla="*/ 0 w 1172"/>
                <a:gd name="T35" fmla="*/ 752 h 1468"/>
                <a:gd name="T36" fmla="*/ 663 w 1172"/>
                <a:gd name="T37" fmla="*/ 0 h 1468"/>
                <a:gd name="T38" fmla="*/ 1171 w 1172"/>
                <a:gd name="T39" fmla="*/ 510 h 1468"/>
                <a:gd name="T40" fmla="*/ 1169 w 1172"/>
                <a:gd name="T41" fmla="*/ 601 h 1468"/>
                <a:gd name="T42" fmla="*/ 627 w 1172"/>
                <a:gd name="T43" fmla="*/ 132 h 1468"/>
                <a:gd name="T44" fmla="*/ 627 w 1172"/>
                <a:gd name="T45" fmla="*/ 132 h 1468"/>
                <a:gd name="T46" fmla="*/ 251 w 1172"/>
                <a:gd name="T47" fmla="*/ 501 h 1468"/>
                <a:gd name="T48" fmla="*/ 458 w 1172"/>
                <a:gd name="T49" fmla="*/ 499 h 1468"/>
                <a:gd name="T50" fmla="*/ 711 w 1172"/>
                <a:gd name="T51" fmla="*/ 493 h 1468"/>
                <a:gd name="T52" fmla="*/ 912 w 1172"/>
                <a:gd name="T53" fmla="*/ 372 h 1468"/>
                <a:gd name="T54" fmla="*/ 627 w 1172"/>
                <a:gd name="T55" fmla="*/ 132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72" h="1468">
                  <a:moveTo>
                    <a:pt x="1169" y="601"/>
                  </a:moveTo>
                  <a:lnTo>
                    <a:pt x="1169" y="601"/>
                  </a:lnTo>
                  <a:cubicBezTo>
                    <a:pt x="1143" y="631"/>
                    <a:pt x="1143" y="631"/>
                    <a:pt x="1143" y="631"/>
                  </a:cubicBezTo>
                  <a:cubicBezTo>
                    <a:pt x="992" y="631"/>
                    <a:pt x="992" y="631"/>
                    <a:pt x="992" y="631"/>
                  </a:cubicBezTo>
                  <a:cubicBezTo>
                    <a:pt x="683" y="633"/>
                    <a:pt x="683" y="633"/>
                    <a:pt x="683" y="633"/>
                  </a:cubicBezTo>
                  <a:cubicBezTo>
                    <a:pt x="385" y="638"/>
                    <a:pt x="385" y="638"/>
                    <a:pt x="385" y="638"/>
                  </a:cubicBezTo>
                  <a:cubicBezTo>
                    <a:pt x="242" y="648"/>
                    <a:pt x="242" y="648"/>
                    <a:pt x="242" y="648"/>
                  </a:cubicBezTo>
                  <a:cubicBezTo>
                    <a:pt x="242" y="663"/>
                    <a:pt x="242" y="663"/>
                    <a:pt x="242" y="663"/>
                  </a:cubicBezTo>
                  <a:cubicBezTo>
                    <a:pt x="242" y="1054"/>
                    <a:pt x="441" y="1281"/>
                    <a:pt x="784" y="1281"/>
                  </a:cubicBezTo>
                  <a:cubicBezTo>
                    <a:pt x="826" y="1281"/>
                    <a:pt x="866" y="1277"/>
                    <a:pt x="903" y="1272"/>
                  </a:cubicBezTo>
                  <a:cubicBezTo>
                    <a:pt x="981" y="1257"/>
                    <a:pt x="1022" y="1240"/>
                    <a:pt x="1111" y="1182"/>
                  </a:cubicBezTo>
                  <a:cubicBezTo>
                    <a:pt x="1137" y="1197"/>
                    <a:pt x="1137" y="1197"/>
                    <a:pt x="1137" y="1197"/>
                  </a:cubicBezTo>
                  <a:cubicBezTo>
                    <a:pt x="1102" y="1292"/>
                    <a:pt x="1102" y="1292"/>
                    <a:pt x="1102" y="1292"/>
                  </a:cubicBezTo>
                  <a:cubicBezTo>
                    <a:pt x="1074" y="1393"/>
                    <a:pt x="1074" y="1393"/>
                    <a:pt x="1074" y="1393"/>
                  </a:cubicBezTo>
                  <a:cubicBezTo>
                    <a:pt x="1035" y="1407"/>
                    <a:pt x="1007" y="1415"/>
                    <a:pt x="990" y="1421"/>
                  </a:cubicBezTo>
                  <a:cubicBezTo>
                    <a:pt x="897" y="1450"/>
                    <a:pt x="784" y="1467"/>
                    <a:pt x="676" y="1467"/>
                  </a:cubicBezTo>
                  <a:cubicBezTo>
                    <a:pt x="458" y="1467"/>
                    <a:pt x="298" y="1402"/>
                    <a:pt x="178" y="1262"/>
                  </a:cubicBezTo>
                  <a:cubicBezTo>
                    <a:pt x="63" y="1128"/>
                    <a:pt x="0" y="944"/>
                    <a:pt x="0" y="752"/>
                  </a:cubicBezTo>
                  <a:cubicBezTo>
                    <a:pt x="0" y="315"/>
                    <a:pt x="277" y="0"/>
                    <a:pt x="663" y="0"/>
                  </a:cubicBezTo>
                  <a:cubicBezTo>
                    <a:pt x="975" y="0"/>
                    <a:pt x="1171" y="195"/>
                    <a:pt x="1171" y="510"/>
                  </a:cubicBezTo>
                  <a:cubicBezTo>
                    <a:pt x="1171" y="532"/>
                    <a:pt x="1171" y="557"/>
                    <a:pt x="1169" y="601"/>
                  </a:cubicBezTo>
                  <a:close/>
                  <a:moveTo>
                    <a:pt x="627" y="132"/>
                  </a:moveTo>
                  <a:lnTo>
                    <a:pt x="627" y="132"/>
                  </a:lnTo>
                  <a:cubicBezTo>
                    <a:pt x="417" y="132"/>
                    <a:pt x="285" y="262"/>
                    <a:pt x="251" y="501"/>
                  </a:cubicBezTo>
                  <a:cubicBezTo>
                    <a:pt x="458" y="499"/>
                    <a:pt x="458" y="499"/>
                    <a:pt x="458" y="499"/>
                  </a:cubicBezTo>
                  <a:cubicBezTo>
                    <a:pt x="711" y="493"/>
                    <a:pt x="711" y="493"/>
                    <a:pt x="711" y="493"/>
                  </a:cubicBezTo>
                  <a:cubicBezTo>
                    <a:pt x="854" y="490"/>
                    <a:pt x="912" y="452"/>
                    <a:pt x="912" y="372"/>
                  </a:cubicBezTo>
                  <a:cubicBezTo>
                    <a:pt x="912" y="240"/>
                    <a:pt x="784" y="132"/>
                    <a:pt x="627" y="132"/>
                  </a:cubicBezTo>
                  <a:close/>
                </a:path>
              </a:pathLst>
            </a:custGeom>
            <a:solidFill>
              <a:srgbClr val="1841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7" name="Freeform 48"/>
            <p:cNvSpPr>
              <a:spLocks noChangeArrowheads="1"/>
            </p:cNvSpPr>
            <p:nvPr/>
          </p:nvSpPr>
          <p:spPr bwMode="auto">
            <a:xfrm>
              <a:off x="958850" y="2138362"/>
              <a:ext cx="374650" cy="346075"/>
            </a:xfrm>
            <a:custGeom>
              <a:avLst/>
              <a:gdLst>
                <a:gd name="T0" fmla="*/ 1213 w 1214"/>
                <a:gd name="T1" fmla="*/ 1121 h 1122"/>
                <a:gd name="T2" fmla="*/ 1213 w 1214"/>
                <a:gd name="T3" fmla="*/ 1121 h 1122"/>
                <a:gd name="T4" fmla="*/ 1213 w 1214"/>
                <a:gd name="T5" fmla="*/ 244 h 1122"/>
                <a:gd name="T6" fmla="*/ 600 w 1214"/>
                <a:gd name="T7" fmla="*/ 0 h 1122"/>
                <a:gd name="T8" fmla="*/ 0 w 1214"/>
                <a:gd name="T9" fmla="*/ 599 h 1122"/>
                <a:gd name="T10" fmla="*/ 218 w 1214"/>
                <a:gd name="T11" fmla="*/ 819 h 1122"/>
                <a:gd name="T12" fmla="*/ 557 w 1214"/>
                <a:gd name="T13" fmla="*/ 478 h 1122"/>
                <a:gd name="T14" fmla="*/ 905 w 1214"/>
                <a:gd name="T15" fmla="*/ 618 h 1122"/>
                <a:gd name="T16" fmla="*/ 905 w 1214"/>
                <a:gd name="T17" fmla="*/ 1121 h 1122"/>
                <a:gd name="T18" fmla="*/ 1213 w 1214"/>
                <a:gd name="T19" fmla="*/ 1121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8" name="Freeform 49"/>
            <p:cNvSpPr>
              <a:spLocks noChangeArrowheads="1"/>
            </p:cNvSpPr>
            <p:nvPr/>
          </p:nvSpPr>
          <p:spPr bwMode="auto">
            <a:xfrm>
              <a:off x="1439863" y="1177924"/>
              <a:ext cx="355600" cy="346075"/>
            </a:xfrm>
            <a:custGeom>
              <a:avLst/>
              <a:gdLst>
                <a:gd name="T0" fmla="*/ 1155 w 1156"/>
                <a:gd name="T1" fmla="*/ 520 h 1122"/>
                <a:gd name="T2" fmla="*/ 1155 w 1156"/>
                <a:gd name="T3" fmla="*/ 520 h 1122"/>
                <a:gd name="T4" fmla="*/ 937 w 1156"/>
                <a:gd name="T5" fmla="*/ 302 h 1122"/>
                <a:gd name="T6" fmla="*/ 596 w 1156"/>
                <a:gd name="T7" fmla="*/ 642 h 1122"/>
                <a:gd name="T8" fmla="*/ 309 w 1156"/>
                <a:gd name="T9" fmla="*/ 520 h 1122"/>
                <a:gd name="T10" fmla="*/ 309 w 1156"/>
                <a:gd name="T11" fmla="*/ 0 h 1122"/>
                <a:gd name="T12" fmla="*/ 0 w 1156"/>
                <a:gd name="T13" fmla="*/ 0 h 1122"/>
                <a:gd name="T14" fmla="*/ 0 w 1156"/>
                <a:gd name="T15" fmla="*/ 884 h 1122"/>
                <a:gd name="T16" fmla="*/ 553 w 1156"/>
                <a:gd name="T17" fmla="*/ 1121 h 1122"/>
                <a:gd name="T18" fmla="*/ 1155 w 1156"/>
                <a:gd name="T19" fmla="*/ 52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29" name="Freeform 50"/>
            <p:cNvSpPr>
              <a:spLocks noChangeArrowheads="1"/>
            </p:cNvSpPr>
            <p:nvPr/>
          </p:nvSpPr>
          <p:spPr bwMode="auto">
            <a:xfrm>
              <a:off x="722313" y="1892299"/>
              <a:ext cx="346075" cy="357188"/>
            </a:xfrm>
            <a:custGeom>
              <a:avLst/>
              <a:gdLst>
                <a:gd name="T0" fmla="*/ 0 w 1124"/>
                <a:gd name="T1" fmla="*/ 0 h 1155"/>
                <a:gd name="T2" fmla="*/ 0 w 1124"/>
                <a:gd name="T3" fmla="*/ 0 h 1155"/>
                <a:gd name="T4" fmla="*/ 0 w 1124"/>
                <a:gd name="T5" fmla="*/ 309 h 1155"/>
                <a:gd name="T6" fmla="*/ 521 w 1124"/>
                <a:gd name="T7" fmla="*/ 309 h 1155"/>
                <a:gd name="T8" fmla="*/ 642 w 1124"/>
                <a:gd name="T9" fmla="*/ 596 h 1155"/>
                <a:gd name="T10" fmla="*/ 304 w 1124"/>
                <a:gd name="T11" fmla="*/ 937 h 1155"/>
                <a:gd name="T12" fmla="*/ 521 w 1124"/>
                <a:gd name="T13" fmla="*/ 1154 h 1155"/>
                <a:gd name="T14" fmla="*/ 1123 w 1124"/>
                <a:gd name="T15" fmla="*/ 553 h 1155"/>
                <a:gd name="T16" fmla="*/ 886 w 1124"/>
                <a:gd name="T17" fmla="*/ 0 h 1155"/>
                <a:gd name="T18" fmla="*/ 0 w 1124"/>
                <a:gd name="T19" fmla="*/ 0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30" name="Freeform 51"/>
            <p:cNvSpPr>
              <a:spLocks noChangeArrowheads="1"/>
            </p:cNvSpPr>
            <p:nvPr/>
          </p:nvSpPr>
          <p:spPr bwMode="auto">
            <a:xfrm>
              <a:off x="958850" y="1177924"/>
              <a:ext cx="376238" cy="346075"/>
            </a:xfrm>
            <a:custGeom>
              <a:avLst/>
              <a:gdLst>
                <a:gd name="T0" fmla="*/ 1214 w 1215"/>
                <a:gd name="T1" fmla="*/ 0 h 1122"/>
                <a:gd name="T2" fmla="*/ 1214 w 1215"/>
                <a:gd name="T3" fmla="*/ 0 h 1122"/>
                <a:gd name="T4" fmla="*/ 906 w 1215"/>
                <a:gd name="T5" fmla="*/ 0 h 1122"/>
                <a:gd name="T6" fmla="*/ 906 w 1215"/>
                <a:gd name="T7" fmla="*/ 501 h 1122"/>
                <a:gd name="T8" fmla="*/ 558 w 1215"/>
                <a:gd name="T9" fmla="*/ 642 h 1122"/>
                <a:gd name="T10" fmla="*/ 219 w 1215"/>
                <a:gd name="T11" fmla="*/ 302 h 1122"/>
                <a:gd name="T12" fmla="*/ 0 w 1215"/>
                <a:gd name="T13" fmla="*/ 520 h 1122"/>
                <a:gd name="T14" fmla="*/ 601 w 1215"/>
                <a:gd name="T15" fmla="*/ 1121 h 1122"/>
                <a:gd name="T16" fmla="*/ 1214 w 1215"/>
                <a:gd name="T17" fmla="*/ 877 h 1122"/>
                <a:gd name="T18" fmla="*/ 1214 w 1215"/>
                <a:gd name="T19"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31" name="Freeform 52"/>
            <p:cNvSpPr>
              <a:spLocks noChangeArrowheads="1"/>
            </p:cNvSpPr>
            <p:nvPr/>
          </p:nvSpPr>
          <p:spPr bwMode="auto">
            <a:xfrm>
              <a:off x="1439863" y="2138362"/>
              <a:ext cx="355600" cy="346075"/>
            </a:xfrm>
            <a:custGeom>
              <a:avLst/>
              <a:gdLst>
                <a:gd name="T0" fmla="*/ 309 w 1156"/>
                <a:gd name="T1" fmla="*/ 1121 h 1122"/>
                <a:gd name="T2" fmla="*/ 309 w 1156"/>
                <a:gd name="T3" fmla="*/ 1121 h 1122"/>
                <a:gd name="T4" fmla="*/ 309 w 1156"/>
                <a:gd name="T5" fmla="*/ 601 h 1122"/>
                <a:gd name="T6" fmla="*/ 596 w 1156"/>
                <a:gd name="T7" fmla="*/ 478 h 1122"/>
                <a:gd name="T8" fmla="*/ 937 w 1156"/>
                <a:gd name="T9" fmla="*/ 819 h 1122"/>
                <a:gd name="T10" fmla="*/ 1155 w 1156"/>
                <a:gd name="T11" fmla="*/ 599 h 1122"/>
                <a:gd name="T12" fmla="*/ 553 w 1156"/>
                <a:gd name="T13" fmla="*/ 0 h 1122"/>
                <a:gd name="T14" fmla="*/ 0 w 1156"/>
                <a:gd name="T15" fmla="*/ 236 h 1122"/>
                <a:gd name="T16" fmla="*/ 0 w 1156"/>
                <a:gd name="T17" fmla="*/ 1121 h 1122"/>
                <a:gd name="T18" fmla="*/ 309 w 1156"/>
                <a:gd name="T19" fmla="*/ 1121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32" name="Freeform 53"/>
            <p:cNvSpPr>
              <a:spLocks noChangeArrowheads="1"/>
            </p:cNvSpPr>
            <p:nvPr/>
          </p:nvSpPr>
          <p:spPr bwMode="auto">
            <a:xfrm>
              <a:off x="1685925" y="1412874"/>
              <a:ext cx="344488" cy="376238"/>
            </a:xfrm>
            <a:custGeom>
              <a:avLst/>
              <a:gdLst>
                <a:gd name="T0" fmla="*/ 1121 w 1122"/>
                <a:gd name="T1" fmla="*/ 905 h 1215"/>
                <a:gd name="T2" fmla="*/ 1121 w 1122"/>
                <a:gd name="T3" fmla="*/ 905 h 1215"/>
                <a:gd name="T4" fmla="*/ 620 w 1122"/>
                <a:gd name="T5" fmla="*/ 905 h 1215"/>
                <a:gd name="T6" fmla="*/ 481 w 1122"/>
                <a:gd name="T7" fmla="*/ 559 h 1215"/>
                <a:gd name="T8" fmla="*/ 820 w 1122"/>
                <a:gd name="T9" fmla="*/ 218 h 1215"/>
                <a:gd name="T10" fmla="*/ 602 w 1122"/>
                <a:gd name="T11" fmla="*/ 0 h 1215"/>
                <a:gd name="T12" fmla="*/ 0 w 1122"/>
                <a:gd name="T13" fmla="*/ 602 h 1215"/>
                <a:gd name="T14" fmla="*/ 244 w 1122"/>
                <a:gd name="T15" fmla="*/ 1214 h 1215"/>
                <a:gd name="T16" fmla="*/ 1121 w 1122"/>
                <a:gd name="T17" fmla="*/ 1214 h 1215"/>
                <a:gd name="T18" fmla="*/ 1121 w 1122"/>
                <a:gd name="T19" fmla="*/ 905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33" name="Freeform 54"/>
            <p:cNvSpPr>
              <a:spLocks noChangeArrowheads="1"/>
            </p:cNvSpPr>
            <p:nvPr/>
          </p:nvSpPr>
          <p:spPr bwMode="auto">
            <a:xfrm>
              <a:off x="722313" y="1412874"/>
              <a:ext cx="346075" cy="376238"/>
            </a:xfrm>
            <a:custGeom>
              <a:avLst/>
              <a:gdLst>
                <a:gd name="T0" fmla="*/ 521 w 1124"/>
                <a:gd name="T1" fmla="*/ 0 h 1215"/>
                <a:gd name="T2" fmla="*/ 521 w 1124"/>
                <a:gd name="T3" fmla="*/ 0 h 1215"/>
                <a:gd name="T4" fmla="*/ 304 w 1124"/>
                <a:gd name="T5" fmla="*/ 218 h 1215"/>
                <a:gd name="T6" fmla="*/ 642 w 1124"/>
                <a:gd name="T7" fmla="*/ 559 h 1215"/>
                <a:gd name="T8" fmla="*/ 503 w 1124"/>
                <a:gd name="T9" fmla="*/ 905 h 1215"/>
                <a:gd name="T10" fmla="*/ 0 w 1124"/>
                <a:gd name="T11" fmla="*/ 905 h 1215"/>
                <a:gd name="T12" fmla="*/ 0 w 1124"/>
                <a:gd name="T13" fmla="*/ 1214 h 1215"/>
                <a:gd name="T14" fmla="*/ 877 w 1124"/>
                <a:gd name="T15" fmla="*/ 1214 h 1215"/>
                <a:gd name="T16" fmla="*/ 1123 w 1124"/>
                <a:gd name="T17" fmla="*/ 602 h 1215"/>
                <a:gd name="T18" fmla="*/ 521 w 1124"/>
                <a:gd name="T19" fmla="*/ 0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sp>
          <p:nvSpPr>
            <p:cNvPr id="34" name="Freeform 55"/>
            <p:cNvSpPr>
              <a:spLocks noChangeArrowheads="1"/>
            </p:cNvSpPr>
            <p:nvPr/>
          </p:nvSpPr>
          <p:spPr bwMode="auto">
            <a:xfrm>
              <a:off x="1685925" y="1892299"/>
              <a:ext cx="344488" cy="357188"/>
            </a:xfrm>
            <a:custGeom>
              <a:avLst/>
              <a:gdLst>
                <a:gd name="T0" fmla="*/ 602 w 1122"/>
                <a:gd name="T1" fmla="*/ 1154 h 1155"/>
                <a:gd name="T2" fmla="*/ 602 w 1122"/>
                <a:gd name="T3" fmla="*/ 1154 h 1155"/>
                <a:gd name="T4" fmla="*/ 820 w 1122"/>
                <a:gd name="T5" fmla="*/ 935 h 1155"/>
                <a:gd name="T6" fmla="*/ 481 w 1122"/>
                <a:gd name="T7" fmla="*/ 596 h 1155"/>
                <a:gd name="T8" fmla="*/ 602 w 1122"/>
                <a:gd name="T9" fmla="*/ 309 h 1155"/>
                <a:gd name="T10" fmla="*/ 1121 w 1122"/>
                <a:gd name="T11" fmla="*/ 309 h 1155"/>
                <a:gd name="T12" fmla="*/ 1121 w 1122"/>
                <a:gd name="T13" fmla="*/ 0 h 1155"/>
                <a:gd name="T14" fmla="*/ 237 w 1122"/>
                <a:gd name="T15" fmla="*/ 0 h 1155"/>
                <a:gd name="T16" fmla="*/ 0 w 1122"/>
                <a:gd name="T17" fmla="*/ 553 h 1155"/>
                <a:gd name="T18" fmla="*/ 602 w 1122"/>
                <a:gd name="T19" fmla="*/ 1154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rgbClr val="206D4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solidFill>
                  <a:srgbClr val="363534"/>
                </a:solidFill>
              </a:endParaRPr>
            </a:p>
          </p:txBody>
        </p:sp>
      </p:grpSp>
      <p:sp>
        <p:nvSpPr>
          <p:cNvPr id="35" name="Rectangle 34"/>
          <p:cNvSpPr/>
          <p:nvPr userDrawn="1"/>
        </p:nvSpPr>
        <p:spPr>
          <a:xfrm>
            <a:off x="271272" y="257955"/>
            <a:ext cx="1489219" cy="149352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6" name="Rectangle 35"/>
          <p:cNvSpPr/>
          <p:nvPr userDrawn="1"/>
        </p:nvSpPr>
        <p:spPr>
          <a:xfrm>
            <a:off x="271272" y="1823556"/>
            <a:ext cx="1489219" cy="149352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lumMod val="50000"/>
                </a:prstClr>
              </a:solidFill>
            </a:endParaRPr>
          </a:p>
        </p:txBody>
      </p:sp>
      <p:sp>
        <p:nvSpPr>
          <p:cNvPr id="37" name="Rectangle 36"/>
          <p:cNvSpPr/>
          <p:nvPr userDrawn="1"/>
        </p:nvSpPr>
        <p:spPr>
          <a:xfrm>
            <a:off x="271272" y="3389332"/>
            <a:ext cx="1489219" cy="149352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8" name="Rectangle 37"/>
          <p:cNvSpPr/>
          <p:nvPr userDrawn="1"/>
        </p:nvSpPr>
        <p:spPr>
          <a:xfrm>
            <a:off x="1835145" y="3389332"/>
            <a:ext cx="1489219" cy="149352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9" name="Rectangle 38"/>
          <p:cNvSpPr/>
          <p:nvPr userDrawn="1"/>
        </p:nvSpPr>
        <p:spPr>
          <a:xfrm>
            <a:off x="3408917" y="3389332"/>
            <a:ext cx="1489219" cy="149352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1835145" y="1823556"/>
            <a:ext cx="1489219" cy="149352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lumMod val="50000"/>
                </a:prstClr>
              </a:solidFill>
            </a:endParaRPr>
          </a:p>
        </p:txBody>
      </p:sp>
      <p:sp>
        <p:nvSpPr>
          <p:cNvPr id="41" name="Text Placeholder 2"/>
          <p:cNvSpPr>
            <a:spLocks noGrp="1"/>
          </p:cNvSpPr>
          <p:nvPr>
            <p:ph idx="1" hasCustomPrompt="1"/>
          </p:nvPr>
        </p:nvSpPr>
        <p:spPr>
          <a:xfrm>
            <a:off x="6831670" y="3389332"/>
            <a:ext cx="2057400" cy="611168"/>
          </a:xfrm>
          <a:prstGeom prst="rect">
            <a:avLst/>
          </a:prstGeom>
        </p:spPr>
        <p:txBody>
          <a:bodyPr vert="horz" wrap="square" lIns="0" tIns="0" rIns="0" bIns="0" rtlCol="0">
            <a:noAutofit/>
          </a:bodyPr>
          <a:lstStyle>
            <a:lvl1pPr marL="0" indent="0" algn="r">
              <a:buNone/>
              <a:defRPr sz="1600">
                <a:solidFill>
                  <a:srgbClr val="363534"/>
                </a:solidFill>
              </a:defRPr>
            </a:lvl1pPr>
            <a:lvl2pPr algn="r">
              <a:defRPr sz="1600">
                <a:solidFill>
                  <a:srgbClr val="7F7F7F"/>
                </a:solidFill>
              </a:defRPr>
            </a:lvl2pPr>
            <a:lvl3pPr algn="r">
              <a:defRPr sz="1600">
                <a:solidFill>
                  <a:srgbClr val="7F7F7F"/>
                </a:solidFill>
              </a:defRPr>
            </a:lvl3pPr>
            <a:lvl4pPr algn="r">
              <a:defRPr sz="1600">
                <a:solidFill>
                  <a:srgbClr val="7F7F7F"/>
                </a:solidFill>
              </a:defRPr>
            </a:lvl4pPr>
            <a:lvl5pPr algn="r">
              <a:defRPr sz="1600">
                <a:solidFill>
                  <a:srgbClr val="7F7F7F"/>
                </a:solidFill>
              </a:defRPr>
            </a:lvl5pPr>
          </a:lstStyle>
          <a:p>
            <a:pPr lvl="0"/>
            <a:r>
              <a:rPr lang="en-US" dirty="0" smtClean="0"/>
              <a:t>Click to edit Master text styles</a:t>
            </a:r>
            <a:endParaRPr lang="en-US" dirty="0"/>
          </a:p>
        </p:txBody>
      </p:sp>
      <p:sp>
        <p:nvSpPr>
          <p:cNvPr id="42" name="Title Placeholder 1"/>
          <p:cNvSpPr>
            <a:spLocks noGrp="1"/>
          </p:cNvSpPr>
          <p:nvPr>
            <p:ph type="title"/>
          </p:nvPr>
        </p:nvSpPr>
        <p:spPr>
          <a:xfrm>
            <a:off x="4749800" y="1757472"/>
            <a:ext cx="4139270" cy="1253020"/>
          </a:xfrm>
          <a:prstGeom prst="rect">
            <a:avLst/>
          </a:prstGeom>
        </p:spPr>
        <p:txBody>
          <a:bodyPr vert="horz" wrap="square" lIns="0" tIns="0" rIns="0" bIns="0" rtlCol="0" anchor="t" anchorCtr="0">
            <a:noAutofit/>
          </a:bodyPr>
          <a:lstStyle>
            <a:lvl1pPr algn="r">
              <a:lnSpc>
                <a:spcPts val="2900"/>
              </a:lnSpc>
              <a:defRPr sz="2800" spc="0" baseline="0">
                <a:solidFill>
                  <a:schemeClr val="accent5"/>
                </a:solidFill>
              </a:defRPr>
            </a:lvl1pPr>
          </a:lstStyle>
          <a:p>
            <a:r>
              <a:rPr lang="en-US" dirty="0" smtClean="0"/>
              <a:t>Click to edit Master title style</a:t>
            </a:r>
            <a:endParaRPr lang="en-US" dirty="0"/>
          </a:p>
        </p:txBody>
      </p:sp>
      <p:grpSp>
        <p:nvGrpSpPr>
          <p:cNvPr id="43" name="Group 6"/>
          <p:cNvGrpSpPr>
            <a:grpSpLocks/>
          </p:cNvGrpSpPr>
          <p:nvPr userDrawn="1"/>
        </p:nvGrpSpPr>
        <p:grpSpPr bwMode="auto">
          <a:xfrm>
            <a:off x="566928" y="571465"/>
            <a:ext cx="3986784" cy="3989516"/>
            <a:chOff x="3490941" y="4189516"/>
            <a:chExt cx="3098742" cy="3095521"/>
          </a:xfrm>
          <a:solidFill>
            <a:schemeClr val="bg1">
              <a:alpha val="20000"/>
            </a:schemeClr>
          </a:solidFill>
        </p:grpSpPr>
        <p:sp>
          <p:nvSpPr>
            <p:cNvPr id="44" name="Freeform 48"/>
            <p:cNvSpPr>
              <a:spLocks noChangeArrowheads="1"/>
            </p:cNvSpPr>
            <p:nvPr/>
          </p:nvSpPr>
          <p:spPr bwMode="auto">
            <a:xfrm>
              <a:off x="4051421" y="6466867"/>
              <a:ext cx="885813" cy="818170"/>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45" name="Freeform 49"/>
            <p:cNvSpPr>
              <a:spLocks noChangeArrowheads="1"/>
            </p:cNvSpPr>
            <p:nvPr/>
          </p:nvSpPr>
          <p:spPr bwMode="auto">
            <a:xfrm>
              <a:off x="5188484" y="4189516"/>
              <a:ext cx="843940" cy="818170"/>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46" name="Freeform 50"/>
            <p:cNvSpPr>
              <a:spLocks noChangeArrowheads="1"/>
            </p:cNvSpPr>
            <p:nvPr/>
          </p:nvSpPr>
          <p:spPr bwMode="auto">
            <a:xfrm>
              <a:off x="3490941" y="5883838"/>
              <a:ext cx="821392" cy="843940"/>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47" name="Freeform 51"/>
            <p:cNvSpPr>
              <a:spLocks noChangeArrowheads="1"/>
            </p:cNvSpPr>
            <p:nvPr/>
          </p:nvSpPr>
          <p:spPr bwMode="auto">
            <a:xfrm>
              <a:off x="4051421" y="4189516"/>
              <a:ext cx="889037" cy="818170"/>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48" name="Freeform 52"/>
            <p:cNvSpPr>
              <a:spLocks noChangeArrowheads="1"/>
            </p:cNvSpPr>
            <p:nvPr/>
          </p:nvSpPr>
          <p:spPr bwMode="auto">
            <a:xfrm>
              <a:off x="5188484" y="6466867"/>
              <a:ext cx="843940" cy="818170"/>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49" name="Freeform 53"/>
            <p:cNvSpPr>
              <a:spLocks noChangeArrowheads="1"/>
            </p:cNvSpPr>
            <p:nvPr/>
          </p:nvSpPr>
          <p:spPr bwMode="auto">
            <a:xfrm>
              <a:off x="5771513" y="4746772"/>
              <a:ext cx="818170" cy="889037"/>
            </a:xfrm>
            <a:custGeom>
              <a:avLst/>
              <a:gdLst>
                <a:gd name="T0" fmla="*/ 817441 w 1122"/>
                <a:gd name="T1" fmla="*/ 662205 h 1215"/>
                <a:gd name="T2" fmla="*/ 817441 w 1122"/>
                <a:gd name="T3" fmla="*/ 662205 h 1215"/>
                <a:gd name="T4" fmla="*/ 452108 w 1122"/>
                <a:gd name="T5" fmla="*/ 662205 h 1215"/>
                <a:gd name="T6" fmla="*/ 350748 w 1122"/>
                <a:gd name="T7" fmla="*/ 409030 h 1215"/>
                <a:gd name="T8" fmla="*/ 597950 w 1122"/>
                <a:gd name="T9" fmla="*/ 159514 h 1215"/>
                <a:gd name="T10" fmla="*/ 438982 w 1122"/>
                <a:gd name="T11" fmla="*/ 0 h 1215"/>
                <a:gd name="T12" fmla="*/ 0 w 1122"/>
                <a:gd name="T13" fmla="*/ 440494 h 1215"/>
                <a:gd name="T14" fmla="*/ 177926 w 1122"/>
                <a:gd name="T15" fmla="*/ 888305 h 1215"/>
                <a:gd name="T16" fmla="*/ 817441 w 1122"/>
                <a:gd name="T17" fmla="*/ 888305 h 1215"/>
                <a:gd name="T18" fmla="*/ 817441 w 1122"/>
                <a:gd name="T19" fmla="*/ 662205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50" name="Freeform 54"/>
            <p:cNvSpPr>
              <a:spLocks noChangeArrowheads="1"/>
            </p:cNvSpPr>
            <p:nvPr/>
          </p:nvSpPr>
          <p:spPr bwMode="auto">
            <a:xfrm>
              <a:off x="3490941" y="4746772"/>
              <a:ext cx="821392" cy="889037"/>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sp>
          <p:nvSpPr>
            <p:cNvPr id="51" name="Freeform 55"/>
            <p:cNvSpPr>
              <a:spLocks noChangeArrowheads="1"/>
            </p:cNvSpPr>
            <p:nvPr/>
          </p:nvSpPr>
          <p:spPr bwMode="auto">
            <a:xfrm>
              <a:off x="5771513" y="5883838"/>
              <a:ext cx="818170" cy="843940"/>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363534"/>
                </a:solidFill>
              </a:endParaRPr>
            </a:p>
          </p:txBody>
        </p:sp>
      </p:grpSp>
      <p:pic>
        <p:nvPicPr>
          <p:cNvPr id="52"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7466" t="14427" r="23091" b="11948"/>
          <a:stretch/>
        </p:blipFill>
        <p:spPr bwMode="auto">
          <a:xfrm>
            <a:off x="274407" y="1833270"/>
            <a:ext cx="1490472" cy="14946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341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6" name="Group 75"/>
          <p:cNvGrpSpPr/>
          <p:nvPr/>
        </p:nvGrpSpPr>
        <p:grpSpPr>
          <a:xfrm>
            <a:off x="127339" y="4749250"/>
            <a:ext cx="274628" cy="274346"/>
            <a:chOff x="328407" y="6323468"/>
            <a:chExt cx="274628" cy="274346"/>
          </a:xfrm>
        </p:grpSpPr>
        <p:sp>
          <p:nvSpPr>
            <p:cNvPr id="77" name="Freeform 48"/>
            <p:cNvSpPr>
              <a:spLocks noChangeArrowheads="1"/>
            </p:cNvSpPr>
            <p:nvPr/>
          </p:nvSpPr>
          <p:spPr bwMode="auto">
            <a:xfrm>
              <a:off x="378080" y="6525302"/>
              <a:ext cx="78506" cy="72512"/>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78" name="Freeform 49"/>
            <p:cNvSpPr>
              <a:spLocks noChangeArrowheads="1"/>
            </p:cNvSpPr>
            <p:nvPr/>
          </p:nvSpPr>
          <p:spPr bwMode="auto">
            <a:xfrm>
              <a:off x="478853" y="6323468"/>
              <a:ext cx="74795" cy="72512"/>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79" name="Freeform 50"/>
            <p:cNvSpPr>
              <a:spLocks noChangeArrowheads="1"/>
            </p:cNvSpPr>
            <p:nvPr/>
          </p:nvSpPr>
          <p:spPr bwMode="auto">
            <a:xfrm>
              <a:off x="328407" y="6473630"/>
              <a:ext cx="72796" cy="74796"/>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80" name="Freeform 51"/>
            <p:cNvSpPr>
              <a:spLocks noChangeArrowheads="1"/>
            </p:cNvSpPr>
            <p:nvPr/>
          </p:nvSpPr>
          <p:spPr bwMode="auto">
            <a:xfrm>
              <a:off x="378080" y="6323468"/>
              <a:ext cx="78791" cy="72512"/>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81" name="Freeform 52"/>
            <p:cNvSpPr>
              <a:spLocks noChangeArrowheads="1"/>
            </p:cNvSpPr>
            <p:nvPr/>
          </p:nvSpPr>
          <p:spPr bwMode="auto">
            <a:xfrm>
              <a:off x="478853" y="6525302"/>
              <a:ext cx="74795" cy="72512"/>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82" name="Freeform 53"/>
            <p:cNvSpPr>
              <a:spLocks noChangeArrowheads="1"/>
            </p:cNvSpPr>
            <p:nvPr/>
          </p:nvSpPr>
          <p:spPr bwMode="auto">
            <a:xfrm>
              <a:off x="530524" y="6372856"/>
              <a:ext cx="72511" cy="78792"/>
            </a:xfrm>
            <a:custGeom>
              <a:avLst/>
              <a:gdLst>
                <a:gd name="T0" fmla="*/ 817441 w 1122"/>
                <a:gd name="T1" fmla="*/ 662205 h 1215"/>
                <a:gd name="T2" fmla="*/ 817441 w 1122"/>
                <a:gd name="T3" fmla="*/ 662205 h 1215"/>
                <a:gd name="T4" fmla="*/ 452108 w 1122"/>
                <a:gd name="T5" fmla="*/ 662205 h 1215"/>
                <a:gd name="T6" fmla="*/ 350748 w 1122"/>
                <a:gd name="T7" fmla="*/ 409030 h 1215"/>
                <a:gd name="T8" fmla="*/ 597950 w 1122"/>
                <a:gd name="T9" fmla="*/ 159514 h 1215"/>
                <a:gd name="T10" fmla="*/ 438982 w 1122"/>
                <a:gd name="T11" fmla="*/ 0 h 1215"/>
                <a:gd name="T12" fmla="*/ 0 w 1122"/>
                <a:gd name="T13" fmla="*/ 440494 h 1215"/>
                <a:gd name="T14" fmla="*/ 177926 w 1122"/>
                <a:gd name="T15" fmla="*/ 888305 h 1215"/>
                <a:gd name="T16" fmla="*/ 817441 w 1122"/>
                <a:gd name="T17" fmla="*/ 888305 h 1215"/>
                <a:gd name="T18" fmla="*/ 817441 w 1122"/>
                <a:gd name="T19" fmla="*/ 662205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83" name="Freeform 54"/>
            <p:cNvSpPr>
              <a:spLocks noChangeArrowheads="1"/>
            </p:cNvSpPr>
            <p:nvPr/>
          </p:nvSpPr>
          <p:spPr bwMode="auto">
            <a:xfrm>
              <a:off x="328407" y="6372856"/>
              <a:ext cx="72796" cy="78792"/>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84" name="Freeform 55"/>
            <p:cNvSpPr>
              <a:spLocks noChangeArrowheads="1"/>
            </p:cNvSpPr>
            <p:nvPr/>
          </p:nvSpPr>
          <p:spPr bwMode="auto">
            <a:xfrm>
              <a:off x="530524" y="6473630"/>
              <a:ext cx="72511" cy="74796"/>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grpSp>
      <p:cxnSp>
        <p:nvCxnSpPr>
          <p:cNvPr id="85" name="Straight Connector 84"/>
          <p:cNvCxnSpPr/>
          <p:nvPr/>
        </p:nvCxnSpPr>
        <p:spPr>
          <a:xfrm>
            <a:off x="520095" y="4894001"/>
            <a:ext cx="7099400" cy="0"/>
          </a:xfrm>
          <a:prstGeom prst="line">
            <a:avLst/>
          </a:prstGeom>
          <a:ln w="635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6" name="Slide Number Placeholder 5"/>
          <p:cNvSpPr txBox="1">
            <a:spLocks/>
          </p:cNvSpPr>
          <p:nvPr/>
        </p:nvSpPr>
        <p:spPr>
          <a:xfrm>
            <a:off x="8781683" y="4758888"/>
            <a:ext cx="228600" cy="25603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710502-49CA-A541-A992-3C8A774F3447}" type="slidenum">
              <a:rPr lang="en-US" sz="900" smtClean="0"/>
              <a:pPr/>
              <a:t>‹#›</a:t>
            </a:fld>
            <a:endParaRPr lang="en-US" sz="900" dirty="0"/>
          </a:p>
        </p:txBody>
      </p:sp>
      <p:grpSp>
        <p:nvGrpSpPr>
          <p:cNvPr id="88" name="Group 87"/>
          <p:cNvGrpSpPr/>
          <p:nvPr/>
        </p:nvGrpSpPr>
        <p:grpSpPr>
          <a:xfrm>
            <a:off x="127339" y="4749250"/>
            <a:ext cx="274628" cy="274346"/>
            <a:chOff x="328407" y="6323468"/>
            <a:chExt cx="274628" cy="274346"/>
          </a:xfrm>
        </p:grpSpPr>
        <p:sp>
          <p:nvSpPr>
            <p:cNvPr id="89" name="Freeform 48"/>
            <p:cNvSpPr>
              <a:spLocks noChangeArrowheads="1"/>
            </p:cNvSpPr>
            <p:nvPr/>
          </p:nvSpPr>
          <p:spPr bwMode="auto">
            <a:xfrm>
              <a:off x="378080" y="6525302"/>
              <a:ext cx="78506" cy="72512"/>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90" name="Freeform 49"/>
            <p:cNvSpPr>
              <a:spLocks noChangeArrowheads="1"/>
            </p:cNvSpPr>
            <p:nvPr/>
          </p:nvSpPr>
          <p:spPr bwMode="auto">
            <a:xfrm>
              <a:off x="478853" y="6323468"/>
              <a:ext cx="74795" cy="72512"/>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91" name="Freeform 50"/>
            <p:cNvSpPr>
              <a:spLocks noChangeArrowheads="1"/>
            </p:cNvSpPr>
            <p:nvPr/>
          </p:nvSpPr>
          <p:spPr bwMode="auto">
            <a:xfrm>
              <a:off x="328407" y="6473630"/>
              <a:ext cx="72796" cy="74796"/>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92" name="Freeform 51"/>
            <p:cNvSpPr>
              <a:spLocks noChangeArrowheads="1"/>
            </p:cNvSpPr>
            <p:nvPr/>
          </p:nvSpPr>
          <p:spPr bwMode="auto">
            <a:xfrm>
              <a:off x="378080" y="6323468"/>
              <a:ext cx="78791" cy="72512"/>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93" name="Freeform 52"/>
            <p:cNvSpPr>
              <a:spLocks noChangeArrowheads="1"/>
            </p:cNvSpPr>
            <p:nvPr/>
          </p:nvSpPr>
          <p:spPr bwMode="auto">
            <a:xfrm>
              <a:off x="478853" y="6525302"/>
              <a:ext cx="74795" cy="72512"/>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94" name="Freeform 54"/>
            <p:cNvSpPr>
              <a:spLocks noChangeArrowheads="1"/>
            </p:cNvSpPr>
            <p:nvPr/>
          </p:nvSpPr>
          <p:spPr bwMode="auto">
            <a:xfrm>
              <a:off x="328407" y="6372856"/>
              <a:ext cx="72796" cy="78792"/>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sp>
          <p:nvSpPr>
            <p:cNvPr id="95" name="Freeform 55"/>
            <p:cNvSpPr>
              <a:spLocks noChangeArrowheads="1"/>
            </p:cNvSpPr>
            <p:nvPr/>
          </p:nvSpPr>
          <p:spPr bwMode="auto">
            <a:xfrm>
              <a:off x="530524" y="6473630"/>
              <a:ext cx="72511" cy="74796"/>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chemeClr val="accent5"/>
                </a:solidFill>
              </a:endParaRPr>
            </a:p>
          </p:txBody>
        </p:sp>
      </p:grpSp>
      <p:cxnSp>
        <p:nvCxnSpPr>
          <p:cNvPr id="96" name="Straight Connector 95"/>
          <p:cNvCxnSpPr/>
          <p:nvPr/>
        </p:nvCxnSpPr>
        <p:spPr>
          <a:xfrm>
            <a:off x="520095" y="4894001"/>
            <a:ext cx="7099400" cy="0"/>
          </a:xfrm>
          <a:prstGeom prst="line">
            <a:avLst/>
          </a:prstGeom>
          <a:ln w="635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7" name="Slide Number Placeholder 5"/>
          <p:cNvSpPr txBox="1">
            <a:spLocks/>
          </p:cNvSpPr>
          <p:nvPr/>
        </p:nvSpPr>
        <p:spPr>
          <a:xfrm>
            <a:off x="8781683" y="4758888"/>
            <a:ext cx="228600" cy="25603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710502-49CA-A541-A992-3C8A774F3447}" type="slidenum">
              <a:rPr lang="en-US" sz="900" smtClean="0"/>
              <a:pPr/>
              <a:t>‹#›</a:t>
            </a:fld>
            <a:endParaRPr lang="en-US" sz="900" dirty="0"/>
          </a:p>
        </p:txBody>
      </p:sp>
    </p:spTree>
    <p:extLst>
      <p:ext uri="{BB962C8B-B14F-4D97-AF65-F5344CB8AC3E}">
        <p14:creationId xmlns:p14="http://schemas.microsoft.com/office/powerpoint/2010/main" val="2738583256"/>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7" r:id="rId4"/>
    <p:sldLayoutId id="2147483658" r:id="rId5"/>
    <p:sldLayoutId id="2147483659" r:id="rId6"/>
    <p:sldLayoutId id="2147483661" r:id="rId7"/>
    <p:sldLayoutId id="2147483673"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6" name="Group 75"/>
          <p:cNvGrpSpPr/>
          <p:nvPr/>
        </p:nvGrpSpPr>
        <p:grpSpPr>
          <a:xfrm>
            <a:off x="127339" y="4749250"/>
            <a:ext cx="274628" cy="274346"/>
            <a:chOff x="328407" y="6323468"/>
            <a:chExt cx="274628" cy="274346"/>
          </a:xfrm>
        </p:grpSpPr>
        <p:sp>
          <p:nvSpPr>
            <p:cNvPr id="77" name="Freeform 48"/>
            <p:cNvSpPr>
              <a:spLocks noChangeArrowheads="1"/>
            </p:cNvSpPr>
            <p:nvPr/>
          </p:nvSpPr>
          <p:spPr bwMode="auto">
            <a:xfrm>
              <a:off x="378080" y="6525302"/>
              <a:ext cx="78506" cy="72512"/>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78" name="Freeform 49"/>
            <p:cNvSpPr>
              <a:spLocks noChangeArrowheads="1"/>
            </p:cNvSpPr>
            <p:nvPr/>
          </p:nvSpPr>
          <p:spPr bwMode="auto">
            <a:xfrm>
              <a:off x="478853" y="6323468"/>
              <a:ext cx="74795" cy="72512"/>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79" name="Freeform 50"/>
            <p:cNvSpPr>
              <a:spLocks noChangeArrowheads="1"/>
            </p:cNvSpPr>
            <p:nvPr/>
          </p:nvSpPr>
          <p:spPr bwMode="auto">
            <a:xfrm>
              <a:off x="328407" y="6473630"/>
              <a:ext cx="72796" cy="74796"/>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80" name="Freeform 51"/>
            <p:cNvSpPr>
              <a:spLocks noChangeArrowheads="1"/>
            </p:cNvSpPr>
            <p:nvPr/>
          </p:nvSpPr>
          <p:spPr bwMode="auto">
            <a:xfrm>
              <a:off x="378080" y="6323468"/>
              <a:ext cx="78791" cy="72512"/>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81" name="Freeform 52"/>
            <p:cNvSpPr>
              <a:spLocks noChangeArrowheads="1"/>
            </p:cNvSpPr>
            <p:nvPr/>
          </p:nvSpPr>
          <p:spPr bwMode="auto">
            <a:xfrm>
              <a:off x="478853" y="6525302"/>
              <a:ext cx="74795" cy="72512"/>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82" name="Freeform 53"/>
            <p:cNvSpPr>
              <a:spLocks noChangeArrowheads="1"/>
            </p:cNvSpPr>
            <p:nvPr/>
          </p:nvSpPr>
          <p:spPr bwMode="auto">
            <a:xfrm>
              <a:off x="530524" y="6372856"/>
              <a:ext cx="72511" cy="78792"/>
            </a:xfrm>
            <a:custGeom>
              <a:avLst/>
              <a:gdLst>
                <a:gd name="T0" fmla="*/ 817441 w 1122"/>
                <a:gd name="T1" fmla="*/ 662205 h 1215"/>
                <a:gd name="T2" fmla="*/ 817441 w 1122"/>
                <a:gd name="T3" fmla="*/ 662205 h 1215"/>
                <a:gd name="T4" fmla="*/ 452108 w 1122"/>
                <a:gd name="T5" fmla="*/ 662205 h 1215"/>
                <a:gd name="T6" fmla="*/ 350748 w 1122"/>
                <a:gd name="T7" fmla="*/ 409030 h 1215"/>
                <a:gd name="T8" fmla="*/ 597950 w 1122"/>
                <a:gd name="T9" fmla="*/ 159514 h 1215"/>
                <a:gd name="T10" fmla="*/ 438982 w 1122"/>
                <a:gd name="T11" fmla="*/ 0 h 1215"/>
                <a:gd name="T12" fmla="*/ 0 w 1122"/>
                <a:gd name="T13" fmla="*/ 440494 h 1215"/>
                <a:gd name="T14" fmla="*/ 177926 w 1122"/>
                <a:gd name="T15" fmla="*/ 888305 h 1215"/>
                <a:gd name="T16" fmla="*/ 817441 w 1122"/>
                <a:gd name="T17" fmla="*/ 888305 h 1215"/>
                <a:gd name="T18" fmla="*/ 817441 w 1122"/>
                <a:gd name="T19" fmla="*/ 662205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215">
                  <a:moveTo>
                    <a:pt x="1121" y="905"/>
                  </a:moveTo>
                  <a:lnTo>
                    <a:pt x="1121" y="905"/>
                  </a:lnTo>
                  <a:cubicBezTo>
                    <a:pt x="620" y="905"/>
                    <a:pt x="620" y="905"/>
                    <a:pt x="620" y="905"/>
                  </a:cubicBezTo>
                  <a:cubicBezTo>
                    <a:pt x="585" y="784"/>
                    <a:pt x="538" y="667"/>
                    <a:pt x="481" y="559"/>
                  </a:cubicBezTo>
                  <a:cubicBezTo>
                    <a:pt x="820" y="218"/>
                    <a:pt x="820" y="218"/>
                    <a:pt x="820" y="218"/>
                  </a:cubicBezTo>
                  <a:cubicBezTo>
                    <a:pt x="602" y="0"/>
                    <a:pt x="602" y="0"/>
                    <a:pt x="602" y="0"/>
                  </a:cubicBezTo>
                  <a:cubicBezTo>
                    <a:pt x="0" y="602"/>
                    <a:pt x="0" y="602"/>
                    <a:pt x="0" y="602"/>
                  </a:cubicBezTo>
                  <a:cubicBezTo>
                    <a:pt x="132" y="777"/>
                    <a:pt x="220" y="985"/>
                    <a:pt x="244" y="1214"/>
                  </a:cubicBezTo>
                  <a:cubicBezTo>
                    <a:pt x="1121" y="1214"/>
                    <a:pt x="1121" y="1214"/>
                    <a:pt x="1121" y="1214"/>
                  </a:cubicBezTo>
                  <a:lnTo>
                    <a:pt x="1121" y="905"/>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83" name="Freeform 54"/>
            <p:cNvSpPr>
              <a:spLocks noChangeArrowheads="1"/>
            </p:cNvSpPr>
            <p:nvPr/>
          </p:nvSpPr>
          <p:spPr bwMode="auto">
            <a:xfrm>
              <a:off x="328407" y="6372856"/>
              <a:ext cx="72796" cy="78792"/>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84" name="Freeform 55"/>
            <p:cNvSpPr>
              <a:spLocks noChangeArrowheads="1"/>
            </p:cNvSpPr>
            <p:nvPr/>
          </p:nvSpPr>
          <p:spPr bwMode="auto">
            <a:xfrm>
              <a:off x="530524" y="6473630"/>
              <a:ext cx="72511" cy="74796"/>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grpSp>
      <p:cxnSp>
        <p:nvCxnSpPr>
          <p:cNvPr id="85" name="Straight Connector 84"/>
          <p:cNvCxnSpPr/>
          <p:nvPr/>
        </p:nvCxnSpPr>
        <p:spPr>
          <a:xfrm>
            <a:off x="520095" y="4894001"/>
            <a:ext cx="7099400" cy="0"/>
          </a:xfrm>
          <a:prstGeom prst="line">
            <a:avLst/>
          </a:prstGeom>
          <a:ln w="6350">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88" name="Group 87"/>
          <p:cNvGrpSpPr/>
          <p:nvPr/>
        </p:nvGrpSpPr>
        <p:grpSpPr>
          <a:xfrm>
            <a:off x="127339" y="4749250"/>
            <a:ext cx="274628" cy="274346"/>
            <a:chOff x="328407" y="6323468"/>
            <a:chExt cx="274628" cy="274346"/>
          </a:xfrm>
        </p:grpSpPr>
        <p:sp>
          <p:nvSpPr>
            <p:cNvPr id="89" name="Freeform 48"/>
            <p:cNvSpPr>
              <a:spLocks noChangeArrowheads="1"/>
            </p:cNvSpPr>
            <p:nvPr/>
          </p:nvSpPr>
          <p:spPr bwMode="auto">
            <a:xfrm>
              <a:off x="378080" y="6525302"/>
              <a:ext cx="78506" cy="72512"/>
            </a:xfrm>
            <a:custGeom>
              <a:avLst/>
              <a:gdLst>
                <a:gd name="T0" fmla="*/ 885083 w 1214"/>
                <a:gd name="T1" fmla="*/ 817441 h 1122"/>
                <a:gd name="T2" fmla="*/ 885083 w 1214"/>
                <a:gd name="T3" fmla="*/ 817441 h 1122"/>
                <a:gd name="T4" fmla="*/ 885083 w 1214"/>
                <a:gd name="T5" fmla="*/ 177926 h 1122"/>
                <a:gd name="T6" fmla="*/ 437799 w 1214"/>
                <a:gd name="T7" fmla="*/ 0 h 1122"/>
                <a:gd name="T8" fmla="*/ 0 w 1214"/>
                <a:gd name="T9" fmla="*/ 436795 h 1122"/>
                <a:gd name="T10" fmla="*/ 159067 w 1214"/>
                <a:gd name="T11" fmla="*/ 597220 h 1122"/>
                <a:gd name="T12" fmla="*/ 406423 w 1214"/>
                <a:gd name="T13" fmla="*/ 348561 h 1122"/>
                <a:gd name="T14" fmla="*/ 660347 w 1214"/>
                <a:gd name="T15" fmla="*/ 450650 h 1122"/>
                <a:gd name="T16" fmla="*/ 660347 w 1214"/>
                <a:gd name="T17" fmla="*/ 817441 h 1122"/>
                <a:gd name="T18" fmla="*/ 885083 w 1214"/>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4" h="1122">
                  <a:moveTo>
                    <a:pt x="1213" y="1121"/>
                  </a:moveTo>
                  <a:lnTo>
                    <a:pt x="1213" y="1121"/>
                  </a:lnTo>
                  <a:cubicBezTo>
                    <a:pt x="1213" y="244"/>
                    <a:pt x="1213" y="244"/>
                    <a:pt x="1213" y="244"/>
                  </a:cubicBezTo>
                  <a:cubicBezTo>
                    <a:pt x="985" y="218"/>
                    <a:pt x="775" y="130"/>
                    <a:pt x="600" y="0"/>
                  </a:cubicBezTo>
                  <a:cubicBezTo>
                    <a:pt x="0" y="599"/>
                    <a:pt x="0" y="599"/>
                    <a:pt x="0" y="599"/>
                  </a:cubicBezTo>
                  <a:cubicBezTo>
                    <a:pt x="218" y="819"/>
                    <a:pt x="218" y="819"/>
                    <a:pt x="218" y="819"/>
                  </a:cubicBezTo>
                  <a:cubicBezTo>
                    <a:pt x="557" y="478"/>
                    <a:pt x="557" y="478"/>
                    <a:pt x="557" y="478"/>
                  </a:cubicBezTo>
                  <a:cubicBezTo>
                    <a:pt x="667" y="538"/>
                    <a:pt x="782" y="585"/>
                    <a:pt x="905" y="618"/>
                  </a:cubicBezTo>
                  <a:cubicBezTo>
                    <a:pt x="905" y="1121"/>
                    <a:pt x="905" y="1121"/>
                    <a:pt x="905" y="1121"/>
                  </a:cubicBezTo>
                  <a:lnTo>
                    <a:pt x="1213" y="1121"/>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90" name="Freeform 49"/>
            <p:cNvSpPr>
              <a:spLocks noChangeArrowheads="1"/>
            </p:cNvSpPr>
            <p:nvPr/>
          </p:nvSpPr>
          <p:spPr bwMode="auto">
            <a:xfrm>
              <a:off x="478853" y="6323468"/>
              <a:ext cx="74795" cy="72512"/>
            </a:xfrm>
            <a:custGeom>
              <a:avLst/>
              <a:gdLst>
                <a:gd name="T0" fmla="*/ 843210 w 1156"/>
                <a:gd name="T1" fmla="*/ 379188 h 1122"/>
                <a:gd name="T2" fmla="*/ 843210 w 1156"/>
                <a:gd name="T3" fmla="*/ 379188 h 1122"/>
                <a:gd name="T4" fmla="*/ 684059 w 1156"/>
                <a:gd name="T5" fmla="*/ 220220 h 1122"/>
                <a:gd name="T6" fmla="*/ 435111 w 1156"/>
                <a:gd name="T7" fmla="*/ 468151 h 1122"/>
                <a:gd name="T8" fmla="*/ 225586 w 1156"/>
                <a:gd name="T9" fmla="*/ 379188 h 1122"/>
                <a:gd name="T10" fmla="*/ 225586 w 1156"/>
                <a:gd name="T11" fmla="*/ 0 h 1122"/>
                <a:gd name="T12" fmla="*/ 0 w 1156"/>
                <a:gd name="T13" fmla="*/ 0 h 1122"/>
                <a:gd name="T14" fmla="*/ 0 w 1156"/>
                <a:gd name="T15" fmla="*/ 644619 h 1122"/>
                <a:gd name="T16" fmla="*/ 403719 w 1156"/>
                <a:gd name="T17" fmla="*/ 817441 h 1122"/>
                <a:gd name="T18" fmla="*/ 843210 w 1156"/>
                <a:gd name="T19" fmla="*/ 379188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1155" y="520"/>
                  </a:moveTo>
                  <a:lnTo>
                    <a:pt x="1155" y="520"/>
                  </a:lnTo>
                  <a:cubicBezTo>
                    <a:pt x="937" y="302"/>
                    <a:pt x="937" y="302"/>
                    <a:pt x="937" y="302"/>
                  </a:cubicBezTo>
                  <a:cubicBezTo>
                    <a:pt x="596" y="642"/>
                    <a:pt x="596" y="642"/>
                    <a:pt x="596" y="642"/>
                  </a:cubicBezTo>
                  <a:cubicBezTo>
                    <a:pt x="507" y="592"/>
                    <a:pt x="410" y="551"/>
                    <a:pt x="309" y="520"/>
                  </a:cubicBezTo>
                  <a:cubicBezTo>
                    <a:pt x="309" y="0"/>
                    <a:pt x="309" y="0"/>
                    <a:pt x="309" y="0"/>
                  </a:cubicBezTo>
                  <a:cubicBezTo>
                    <a:pt x="0" y="0"/>
                    <a:pt x="0" y="0"/>
                    <a:pt x="0" y="0"/>
                  </a:cubicBezTo>
                  <a:cubicBezTo>
                    <a:pt x="0" y="884"/>
                    <a:pt x="0" y="884"/>
                    <a:pt x="0" y="884"/>
                  </a:cubicBezTo>
                  <a:cubicBezTo>
                    <a:pt x="207" y="918"/>
                    <a:pt x="395" y="1002"/>
                    <a:pt x="553" y="1121"/>
                  </a:cubicBezTo>
                  <a:lnTo>
                    <a:pt x="1155" y="52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91" name="Freeform 50"/>
            <p:cNvSpPr>
              <a:spLocks noChangeArrowheads="1"/>
            </p:cNvSpPr>
            <p:nvPr/>
          </p:nvSpPr>
          <p:spPr bwMode="auto">
            <a:xfrm>
              <a:off x="328407" y="6473630"/>
              <a:ext cx="72796" cy="74796"/>
            </a:xfrm>
            <a:custGeom>
              <a:avLst/>
              <a:gdLst>
                <a:gd name="T0" fmla="*/ 0 w 1124"/>
                <a:gd name="T1" fmla="*/ 0 h 1155"/>
                <a:gd name="T2" fmla="*/ 0 w 1124"/>
                <a:gd name="T3" fmla="*/ 0 h 1155"/>
                <a:gd name="T4" fmla="*/ 0 w 1124"/>
                <a:gd name="T5" fmla="*/ 225781 h 1155"/>
                <a:gd name="T6" fmla="*/ 380734 w 1124"/>
                <a:gd name="T7" fmla="*/ 225781 h 1155"/>
                <a:gd name="T8" fmla="*/ 469158 w 1124"/>
                <a:gd name="T9" fmla="*/ 435488 h 1155"/>
                <a:gd name="T10" fmla="*/ 222156 w 1124"/>
                <a:gd name="T11" fmla="*/ 684651 h 1155"/>
                <a:gd name="T12" fmla="*/ 380734 w 1124"/>
                <a:gd name="T13" fmla="*/ 843209 h 1155"/>
                <a:gd name="T14" fmla="*/ 820661 w 1124"/>
                <a:gd name="T15" fmla="*/ 404068 h 1155"/>
                <a:gd name="T16" fmla="*/ 647467 w 1124"/>
                <a:gd name="T17" fmla="*/ 0 h 1155"/>
                <a:gd name="T18" fmla="*/ 0 w 1124"/>
                <a:gd name="T19" fmla="*/ 0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155">
                  <a:moveTo>
                    <a:pt x="0" y="0"/>
                  </a:moveTo>
                  <a:lnTo>
                    <a:pt x="0" y="0"/>
                  </a:lnTo>
                  <a:cubicBezTo>
                    <a:pt x="0" y="309"/>
                    <a:pt x="0" y="309"/>
                    <a:pt x="0" y="309"/>
                  </a:cubicBezTo>
                  <a:cubicBezTo>
                    <a:pt x="521" y="309"/>
                    <a:pt x="521" y="309"/>
                    <a:pt x="521" y="309"/>
                  </a:cubicBezTo>
                  <a:cubicBezTo>
                    <a:pt x="553" y="410"/>
                    <a:pt x="594" y="505"/>
                    <a:pt x="642" y="596"/>
                  </a:cubicBezTo>
                  <a:cubicBezTo>
                    <a:pt x="304" y="937"/>
                    <a:pt x="304" y="937"/>
                    <a:pt x="304" y="937"/>
                  </a:cubicBezTo>
                  <a:cubicBezTo>
                    <a:pt x="521" y="1154"/>
                    <a:pt x="521" y="1154"/>
                    <a:pt x="521" y="1154"/>
                  </a:cubicBezTo>
                  <a:cubicBezTo>
                    <a:pt x="1123" y="553"/>
                    <a:pt x="1123" y="553"/>
                    <a:pt x="1123" y="553"/>
                  </a:cubicBezTo>
                  <a:cubicBezTo>
                    <a:pt x="1002" y="393"/>
                    <a:pt x="918" y="205"/>
                    <a:pt x="886" y="0"/>
                  </a:cubicBezTo>
                  <a:lnTo>
                    <a:pt x="0"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92" name="Freeform 51"/>
            <p:cNvSpPr>
              <a:spLocks noChangeArrowheads="1"/>
            </p:cNvSpPr>
            <p:nvPr/>
          </p:nvSpPr>
          <p:spPr bwMode="auto">
            <a:xfrm>
              <a:off x="378080" y="6323468"/>
              <a:ext cx="78791" cy="72512"/>
            </a:xfrm>
            <a:custGeom>
              <a:avLst/>
              <a:gdLst>
                <a:gd name="T0" fmla="*/ 888305 w 1215"/>
                <a:gd name="T1" fmla="*/ 0 h 1122"/>
                <a:gd name="T2" fmla="*/ 888305 w 1215"/>
                <a:gd name="T3" fmla="*/ 0 h 1122"/>
                <a:gd name="T4" fmla="*/ 662936 w 1215"/>
                <a:gd name="T5" fmla="*/ 0 h 1122"/>
                <a:gd name="T6" fmla="*/ 662936 w 1215"/>
                <a:gd name="T7" fmla="*/ 365333 h 1122"/>
                <a:gd name="T8" fmla="*/ 408298 w 1215"/>
                <a:gd name="T9" fmla="*/ 468151 h 1122"/>
                <a:gd name="T10" fmla="*/ 160246 w 1215"/>
                <a:gd name="T11" fmla="*/ 220220 h 1122"/>
                <a:gd name="T12" fmla="*/ 0 w 1215"/>
                <a:gd name="T13" fmla="*/ 379188 h 1122"/>
                <a:gd name="T14" fmla="*/ 439762 w 1215"/>
                <a:gd name="T15" fmla="*/ 817441 h 1122"/>
                <a:gd name="T16" fmla="*/ 888305 w 1215"/>
                <a:gd name="T17" fmla="*/ 639514 h 1122"/>
                <a:gd name="T18" fmla="*/ 888305 w 1215"/>
                <a:gd name="T19" fmla="*/ 0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5" h="1122">
                  <a:moveTo>
                    <a:pt x="1214" y="0"/>
                  </a:moveTo>
                  <a:lnTo>
                    <a:pt x="1214" y="0"/>
                  </a:lnTo>
                  <a:cubicBezTo>
                    <a:pt x="906" y="0"/>
                    <a:pt x="906" y="0"/>
                    <a:pt x="906" y="0"/>
                  </a:cubicBezTo>
                  <a:cubicBezTo>
                    <a:pt x="906" y="501"/>
                    <a:pt x="906" y="501"/>
                    <a:pt x="906" y="501"/>
                  </a:cubicBezTo>
                  <a:cubicBezTo>
                    <a:pt x="783" y="536"/>
                    <a:pt x="668" y="583"/>
                    <a:pt x="558" y="642"/>
                  </a:cubicBezTo>
                  <a:cubicBezTo>
                    <a:pt x="219" y="302"/>
                    <a:pt x="219" y="302"/>
                    <a:pt x="219" y="302"/>
                  </a:cubicBezTo>
                  <a:cubicBezTo>
                    <a:pt x="0" y="520"/>
                    <a:pt x="0" y="520"/>
                    <a:pt x="0" y="520"/>
                  </a:cubicBezTo>
                  <a:cubicBezTo>
                    <a:pt x="601" y="1121"/>
                    <a:pt x="601" y="1121"/>
                    <a:pt x="601" y="1121"/>
                  </a:cubicBezTo>
                  <a:cubicBezTo>
                    <a:pt x="776" y="989"/>
                    <a:pt x="986" y="903"/>
                    <a:pt x="1214" y="877"/>
                  </a:cubicBezTo>
                  <a:lnTo>
                    <a:pt x="1214"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93" name="Freeform 52"/>
            <p:cNvSpPr>
              <a:spLocks noChangeArrowheads="1"/>
            </p:cNvSpPr>
            <p:nvPr/>
          </p:nvSpPr>
          <p:spPr bwMode="auto">
            <a:xfrm>
              <a:off x="478853" y="6525302"/>
              <a:ext cx="74795" cy="72512"/>
            </a:xfrm>
            <a:custGeom>
              <a:avLst/>
              <a:gdLst>
                <a:gd name="T0" fmla="*/ 225586 w 1156"/>
                <a:gd name="T1" fmla="*/ 817441 h 1122"/>
                <a:gd name="T2" fmla="*/ 225586 w 1156"/>
                <a:gd name="T3" fmla="*/ 817441 h 1122"/>
                <a:gd name="T4" fmla="*/ 225586 w 1156"/>
                <a:gd name="T5" fmla="*/ 438253 h 1122"/>
                <a:gd name="T6" fmla="*/ 435111 w 1156"/>
                <a:gd name="T7" fmla="*/ 348561 h 1122"/>
                <a:gd name="T8" fmla="*/ 684059 w 1156"/>
                <a:gd name="T9" fmla="*/ 597220 h 1122"/>
                <a:gd name="T10" fmla="*/ 843210 w 1156"/>
                <a:gd name="T11" fmla="*/ 436795 h 1122"/>
                <a:gd name="T12" fmla="*/ 403719 w 1156"/>
                <a:gd name="T13" fmla="*/ 0 h 1122"/>
                <a:gd name="T14" fmla="*/ 0 w 1156"/>
                <a:gd name="T15" fmla="*/ 172093 h 1122"/>
                <a:gd name="T16" fmla="*/ 0 w 1156"/>
                <a:gd name="T17" fmla="*/ 817441 h 1122"/>
                <a:gd name="T18" fmla="*/ 225586 w 1156"/>
                <a:gd name="T19" fmla="*/ 817441 h 1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6" h="1122">
                  <a:moveTo>
                    <a:pt x="309" y="1121"/>
                  </a:moveTo>
                  <a:lnTo>
                    <a:pt x="309" y="1121"/>
                  </a:lnTo>
                  <a:cubicBezTo>
                    <a:pt x="309" y="601"/>
                    <a:pt x="309" y="601"/>
                    <a:pt x="309" y="601"/>
                  </a:cubicBezTo>
                  <a:cubicBezTo>
                    <a:pt x="410" y="568"/>
                    <a:pt x="507" y="529"/>
                    <a:pt x="596" y="478"/>
                  </a:cubicBezTo>
                  <a:cubicBezTo>
                    <a:pt x="937" y="819"/>
                    <a:pt x="937" y="819"/>
                    <a:pt x="937" y="819"/>
                  </a:cubicBezTo>
                  <a:cubicBezTo>
                    <a:pt x="1155" y="599"/>
                    <a:pt x="1155" y="599"/>
                    <a:pt x="1155" y="599"/>
                  </a:cubicBezTo>
                  <a:cubicBezTo>
                    <a:pt x="553" y="0"/>
                    <a:pt x="553" y="0"/>
                    <a:pt x="553" y="0"/>
                  </a:cubicBezTo>
                  <a:cubicBezTo>
                    <a:pt x="395" y="119"/>
                    <a:pt x="207" y="203"/>
                    <a:pt x="0" y="236"/>
                  </a:cubicBezTo>
                  <a:cubicBezTo>
                    <a:pt x="0" y="1121"/>
                    <a:pt x="0" y="1121"/>
                    <a:pt x="0" y="1121"/>
                  </a:cubicBezTo>
                  <a:lnTo>
                    <a:pt x="309" y="1121"/>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94" name="Freeform 54"/>
            <p:cNvSpPr>
              <a:spLocks noChangeArrowheads="1"/>
            </p:cNvSpPr>
            <p:nvPr/>
          </p:nvSpPr>
          <p:spPr bwMode="auto">
            <a:xfrm>
              <a:off x="328407" y="6372856"/>
              <a:ext cx="72796" cy="78792"/>
            </a:xfrm>
            <a:custGeom>
              <a:avLst/>
              <a:gdLst>
                <a:gd name="T0" fmla="*/ 380734 w 1124"/>
                <a:gd name="T1" fmla="*/ 0 h 1215"/>
                <a:gd name="T2" fmla="*/ 380734 w 1124"/>
                <a:gd name="T3" fmla="*/ 0 h 1215"/>
                <a:gd name="T4" fmla="*/ 222156 w 1124"/>
                <a:gd name="T5" fmla="*/ 159514 h 1215"/>
                <a:gd name="T6" fmla="*/ 469158 w 1124"/>
                <a:gd name="T7" fmla="*/ 409030 h 1215"/>
                <a:gd name="T8" fmla="*/ 367580 w 1124"/>
                <a:gd name="T9" fmla="*/ 662205 h 1215"/>
                <a:gd name="T10" fmla="*/ 0 w 1124"/>
                <a:gd name="T11" fmla="*/ 662205 h 1215"/>
                <a:gd name="T12" fmla="*/ 0 w 1124"/>
                <a:gd name="T13" fmla="*/ 888305 h 1215"/>
                <a:gd name="T14" fmla="*/ 640890 w 1124"/>
                <a:gd name="T15" fmla="*/ 888305 h 1215"/>
                <a:gd name="T16" fmla="*/ 820661 w 1124"/>
                <a:gd name="T17" fmla="*/ 440494 h 1215"/>
                <a:gd name="T18" fmla="*/ 380734 w 1124"/>
                <a:gd name="T19" fmla="*/ 0 h 12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4" h="1215">
                  <a:moveTo>
                    <a:pt x="521" y="0"/>
                  </a:moveTo>
                  <a:lnTo>
                    <a:pt x="521" y="0"/>
                  </a:lnTo>
                  <a:cubicBezTo>
                    <a:pt x="304" y="218"/>
                    <a:pt x="304" y="218"/>
                    <a:pt x="304" y="218"/>
                  </a:cubicBezTo>
                  <a:cubicBezTo>
                    <a:pt x="642" y="559"/>
                    <a:pt x="642" y="559"/>
                    <a:pt x="642" y="559"/>
                  </a:cubicBezTo>
                  <a:cubicBezTo>
                    <a:pt x="583" y="667"/>
                    <a:pt x="536" y="784"/>
                    <a:pt x="503" y="905"/>
                  </a:cubicBezTo>
                  <a:cubicBezTo>
                    <a:pt x="0" y="905"/>
                    <a:pt x="0" y="905"/>
                    <a:pt x="0" y="905"/>
                  </a:cubicBezTo>
                  <a:cubicBezTo>
                    <a:pt x="0" y="1214"/>
                    <a:pt x="0" y="1214"/>
                    <a:pt x="0" y="1214"/>
                  </a:cubicBezTo>
                  <a:cubicBezTo>
                    <a:pt x="877" y="1214"/>
                    <a:pt x="877" y="1214"/>
                    <a:pt x="877" y="1214"/>
                  </a:cubicBezTo>
                  <a:cubicBezTo>
                    <a:pt x="903" y="985"/>
                    <a:pt x="991" y="777"/>
                    <a:pt x="1123" y="602"/>
                  </a:cubicBezTo>
                  <a:lnTo>
                    <a:pt x="521" y="0"/>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sp>
          <p:nvSpPr>
            <p:cNvPr id="95" name="Freeform 55"/>
            <p:cNvSpPr>
              <a:spLocks noChangeArrowheads="1"/>
            </p:cNvSpPr>
            <p:nvPr/>
          </p:nvSpPr>
          <p:spPr bwMode="auto">
            <a:xfrm>
              <a:off x="530524" y="6473630"/>
              <a:ext cx="72511" cy="74796"/>
            </a:xfrm>
            <a:custGeom>
              <a:avLst/>
              <a:gdLst>
                <a:gd name="T0" fmla="*/ 438982 w 1122"/>
                <a:gd name="T1" fmla="*/ 843209 h 1155"/>
                <a:gd name="T2" fmla="*/ 438982 w 1122"/>
                <a:gd name="T3" fmla="*/ 843209 h 1155"/>
                <a:gd name="T4" fmla="*/ 597950 w 1122"/>
                <a:gd name="T5" fmla="*/ 683190 h 1155"/>
                <a:gd name="T6" fmla="*/ 350748 w 1122"/>
                <a:gd name="T7" fmla="*/ 435488 h 1155"/>
                <a:gd name="T8" fmla="*/ 438982 w 1122"/>
                <a:gd name="T9" fmla="*/ 225781 h 1155"/>
                <a:gd name="T10" fmla="*/ 817441 w 1122"/>
                <a:gd name="T11" fmla="*/ 225781 h 1155"/>
                <a:gd name="T12" fmla="*/ 817441 w 1122"/>
                <a:gd name="T13" fmla="*/ 0 h 1155"/>
                <a:gd name="T14" fmla="*/ 172822 w 1122"/>
                <a:gd name="T15" fmla="*/ 0 h 1155"/>
                <a:gd name="T16" fmla="*/ 0 w 1122"/>
                <a:gd name="T17" fmla="*/ 404068 h 1155"/>
                <a:gd name="T18" fmla="*/ 438982 w 1122"/>
                <a:gd name="T19" fmla="*/ 843209 h 1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22" h="1155">
                  <a:moveTo>
                    <a:pt x="602" y="1154"/>
                  </a:moveTo>
                  <a:lnTo>
                    <a:pt x="602" y="1154"/>
                  </a:lnTo>
                  <a:cubicBezTo>
                    <a:pt x="820" y="935"/>
                    <a:pt x="820" y="935"/>
                    <a:pt x="820" y="935"/>
                  </a:cubicBezTo>
                  <a:cubicBezTo>
                    <a:pt x="481" y="596"/>
                    <a:pt x="481" y="596"/>
                    <a:pt x="481" y="596"/>
                  </a:cubicBezTo>
                  <a:cubicBezTo>
                    <a:pt x="529" y="505"/>
                    <a:pt x="570" y="408"/>
                    <a:pt x="602" y="309"/>
                  </a:cubicBezTo>
                  <a:cubicBezTo>
                    <a:pt x="1121" y="309"/>
                    <a:pt x="1121" y="309"/>
                    <a:pt x="1121" y="309"/>
                  </a:cubicBezTo>
                  <a:cubicBezTo>
                    <a:pt x="1121" y="0"/>
                    <a:pt x="1121" y="0"/>
                    <a:pt x="1121" y="0"/>
                  </a:cubicBezTo>
                  <a:cubicBezTo>
                    <a:pt x="237" y="0"/>
                    <a:pt x="237" y="0"/>
                    <a:pt x="237" y="0"/>
                  </a:cubicBezTo>
                  <a:cubicBezTo>
                    <a:pt x="203" y="205"/>
                    <a:pt x="119" y="393"/>
                    <a:pt x="0" y="553"/>
                  </a:cubicBezTo>
                  <a:lnTo>
                    <a:pt x="602" y="1154"/>
                  </a:ln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US">
                <a:solidFill>
                  <a:srgbClr val="747678"/>
                </a:solidFill>
              </a:endParaRPr>
            </a:p>
          </p:txBody>
        </p:sp>
      </p:grpSp>
      <p:cxnSp>
        <p:nvCxnSpPr>
          <p:cNvPr id="96" name="Straight Connector 95"/>
          <p:cNvCxnSpPr/>
          <p:nvPr/>
        </p:nvCxnSpPr>
        <p:spPr>
          <a:xfrm>
            <a:off x="520095" y="4894001"/>
            <a:ext cx="7099400" cy="0"/>
          </a:xfrm>
          <a:prstGeom prst="line">
            <a:avLst/>
          </a:prstGeom>
          <a:ln w="635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7" name="Slide Number Placeholder 5"/>
          <p:cNvSpPr txBox="1">
            <a:spLocks/>
          </p:cNvSpPr>
          <p:nvPr/>
        </p:nvSpPr>
        <p:spPr>
          <a:xfrm>
            <a:off x="8781683" y="4758888"/>
            <a:ext cx="228600" cy="256032"/>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710502-49CA-A541-A992-3C8A774F3447}" type="slidenum">
              <a:rPr lang="en-US" sz="1050" smtClean="0">
                <a:solidFill>
                  <a:srgbClr val="363534">
                    <a:tint val="75000"/>
                  </a:srgbClr>
                </a:solidFill>
              </a:rPr>
              <a:pPr/>
              <a:t>‹#›</a:t>
            </a:fld>
            <a:endParaRPr lang="en-US" sz="1050" dirty="0">
              <a:solidFill>
                <a:srgbClr val="363534">
                  <a:tint val="75000"/>
                </a:srgbClr>
              </a:solidFill>
            </a:endParaRPr>
          </a:p>
        </p:txBody>
      </p:sp>
    </p:spTree>
    <p:extLst>
      <p:ext uri="{BB962C8B-B14F-4D97-AF65-F5344CB8AC3E}">
        <p14:creationId xmlns:p14="http://schemas.microsoft.com/office/powerpoint/2010/main" val="362219952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swayspace.com/studio/clearinghouse/storytelling/rtp-demo/pod-01.html" TargetMode="Externa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slideLayout" Target="../slideLayouts/slideLayout4.xml"/><Relationship Id="rId1" Type="http://schemas.openxmlformats.org/officeDocument/2006/relationships/tags" Target="../tags/tag2.xml"/><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43475" y="3405020"/>
            <a:ext cx="3955971" cy="611168"/>
          </a:xfrm>
        </p:spPr>
        <p:txBody>
          <a:bodyPr/>
          <a:lstStyle/>
          <a:p>
            <a:r>
              <a:rPr lang="en-US" sz="1400" dirty="0" smtClean="0"/>
              <a:t>October 17, 2018</a:t>
            </a:r>
          </a:p>
          <a:p>
            <a:r>
              <a:rPr lang="en-US" sz="1400" dirty="0" smtClean="0"/>
              <a:t>Mid-Atlantic Association for Financial Professionals</a:t>
            </a:r>
          </a:p>
          <a:p>
            <a:r>
              <a:rPr lang="en-US" sz="1400" dirty="0" smtClean="0"/>
              <a:t>Baltimore, MD</a:t>
            </a:r>
            <a:endParaRPr lang="en-US" sz="1400" dirty="0"/>
          </a:p>
        </p:txBody>
      </p:sp>
      <p:sp>
        <p:nvSpPr>
          <p:cNvPr id="3" name="Title 2"/>
          <p:cNvSpPr>
            <a:spLocks noGrp="1"/>
          </p:cNvSpPr>
          <p:nvPr>
            <p:ph type="title"/>
          </p:nvPr>
        </p:nvSpPr>
        <p:spPr>
          <a:xfrm>
            <a:off x="3938954" y="1757472"/>
            <a:ext cx="4960492" cy="1253020"/>
          </a:xfrm>
        </p:spPr>
        <p:txBody>
          <a:bodyPr/>
          <a:lstStyle/>
          <a:p>
            <a:r>
              <a:rPr lang="en-US" dirty="0"/>
              <a:t>The Dawn of a New Era in Electronic Invoicing and Payments</a:t>
            </a:r>
          </a:p>
        </p:txBody>
      </p:sp>
    </p:spTree>
    <p:extLst>
      <p:ext uri="{BB962C8B-B14F-4D97-AF65-F5344CB8AC3E}">
        <p14:creationId xmlns:p14="http://schemas.microsoft.com/office/powerpoint/2010/main" val="294154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5975411" y="1627569"/>
            <a:ext cx="2377440" cy="3154680"/>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t"/>
          <a:lstStyle/>
          <a:p>
            <a:pPr algn="ctr"/>
            <a:r>
              <a:rPr lang="en-US" dirty="0" smtClean="0"/>
              <a:t>End Customer System</a:t>
            </a:r>
            <a:endParaRPr lang="en-US" dirty="0"/>
          </a:p>
        </p:txBody>
      </p:sp>
      <p:sp>
        <p:nvSpPr>
          <p:cNvPr id="31" name="Rectangle 30"/>
          <p:cNvSpPr/>
          <p:nvPr/>
        </p:nvSpPr>
        <p:spPr>
          <a:xfrm>
            <a:off x="3308411" y="1627569"/>
            <a:ext cx="2377440" cy="3154680"/>
          </a:xfrm>
          <a:prstGeom prst="rect">
            <a:avLst/>
          </a:prstGeom>
          <a:solidFill>
            <a:schemeClr val="accent4">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r>
              <a:rPr lang="en-US" dirty="0" smtClean="0"/>
              <a:t>Financial Institution Interface</a:t>
            </a:r>
            <a:endParaRPr lang="en-US" dirty="0"/>
          </a:p>
        </p:txBody>
      </p:sp>
      <p:sp>
        <p:nvSpPr>
          <p:cNvPr id="30" name="Rectangle 29"/>
          <p:cNvSpPr/>
          <p:nvPr/>
        </p:nvSpPr>
        <p:spPr>
          <a:xfrm>
            <a:off x="518160" y="1627569"/>
            <a:ext cx="2377440" cy="3154680"/>
          </a:xfrm>
          <a:prstGeom prst="rect">
            <a:avLst/>
          </a:prstGeom>
          <a:solidFill>
            <a:schemeClr val="bg2"/>
          </a:solidFill>
        </p:spPr>
        <p:style>
          <a:lnRef idx="1">
            <a:schemeClr val="accent1"/>
          </a:lnRef>
          <a:fillRef idx="3">
            <a:schemeClr val="accent1"/>
          </a:fillRef>
          <a:effectRef idx="2">
            <a:schemeClr val="accent1"/>
          </a:effectRef>
          <a:fontRef idx="minor">
            <a:schemeClr val="lt1"/>
          </a:fontRef>
        </p:style>
        <p:txBody>
          <a:bodyPr rtlCol="0" anchor="t"/>
          <a:lstStyle/>
          <a:p>
            <a:pPr algn="ctr"/>
            <a:r>
              <a:rPr lang="en-US" dirty="0" smtClean="0"/>
              <a:t>RTP Message</a:t>
            </a:r>
            <a:endParaRPr lang="en-US" dirty="0"/>
          </a:p>
        </p:txBody>
      </p:sp>
      <p:sp>
        <p:nvSpPr>
          <p:cNvPr id="6" name="Title 5"/>
          <p:cNvSpPr>
            <a:spLocks noGrp="1"/>
          </p:cNvSpPr>
          <p:nvPr>
            <p:ph type="title"/>
          </p:nvPr>
        </p:nvSpPr>
        <p:spPr/>
        <p:txBody>
          <a:bodyPr/>
          <a:lstStyle/>
          <a:p>
            <a:r>
              <a:rPr lang="en-US" dirty="0" smtClean="0"/>
              <a:t>Leveraging Application Programing Interfaces (API’s) makes more sense with RTP</a:t>
            </a:r>
            <a:endParaRPr lang="en-US" dirty="0"/>
          </a:p>
        </p:txBody>
      </p:sp>
      <p:sp>
        <p:nvSpPr>
          <p:cNvPr id="7" name="Content Placeholder 6"/>
          <p:cNvSpPr>
            <a:spLocks noGrp="1"/>
          </p:cNvSpPr>
          <p:nvPr>
            <p:ph idx="1"/>
          </p:nvPr>
        </p:nvSpPr>
        <p:spPr>
          <a:xfrm>
            <a:off x="347472" y="1065726"/>
            <a:ext cx="8494776" cy="3412172"/>
          </a:xfrm>
        </p:spPr>
        <p:txBody>
          <a:bodyPr>
            <a:normAutofit/>
          </a:bodyPr>
          <a:lstStyle/>
          <a:p>
            <a:r>
              <a:rPr lang="en-US" sz="1800" dirty="0" smtClean="0"/>
              <a:t>Banking and payments can become more deeply integrated into your processes</a:t>
            </a:r>
            <a:endParaRPr lang="en-US" sz="1800" dirty="0"/>
          </a:p>
        </p:txBody>
      </p:sp>
      <p:sp>
        <p:nvSpPr>
          <p:cNvPr id="9" name="Footer Placeholder 3"/>
          <p:cNvSpPr txBox="1">
            <a:spLocks/>
          </p:cNvSpPr>
          <p:nvPr/>
        </p:nvSpPr>
        <p:spPr>
          <a:xfrm>
            <a:off x="1536749" y="4885744"/>
            <a:ext cx="3249942" cy="2348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smtClean="0">
                <a:solidFill>
                  <a:schemeClr val="bg1"/>
                </a:solidFill>
              </a:rPr>
              <a:t>©2017  The Clearing House Payments Co. LLC</a:t>
            </a:r>
            <a:endParaRPr lang="en-US" sz="1200" dirty="0">
              <a:solidFill>
                <a:schemeClr val="bg1"/>
              </a:solidFill>
            </a:endParaRPr>
          </a:p>
        </p:txBody>
      </p:sp>
      <p:sp>
        <p:nvSpPr>
          <p:cNvPr id="13" name="Rectangle 12"/>
          <p:cNvSpPr/>
          <p:nvPr/>
        </p:nvSpPr>
        <p:spPr>
          <a:xfrm>
            <a:off x="914400" y="2347659"/>
            <a:ext cx="1493520" cy="560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accent5"/>
                </a:solidFill>
              </a:rPr>
              <a:t>Request for Payment</a:t>
            </a:r>
            <a:endParaRPr lang="en-US" sz="1200" dirty="0">
              <a:solidFill>
                <a:schemeClr val="accent5"/>
              </a:solidFill>
            </a:endParaRPr>
          </a:p>
        </p:txBody>
      </p:sp>
      <p:cxnSp>
        <p:nvCxnSpPr>
          <p:cNvPr id="15" name="Straight Arrow Connector 14"/>
          <p:cNvCxnSpPr/>
          <p:nvPr/>
        </p:nvCxnSpPr>
        <p:spPr>
          <a:xfrm>
            <a:off x="2761960" y="2627694"/>
            <a:ext cx="74676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3750371" y="2347659"/>
            <a:ext cx="1493520" cy="560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accent5"/>
                </a:solidFill>
              </a:rPr>
              <a:t>API Integration to ERP/Payables System</a:t>
            </a:r>
            <a:endParaRPr lang="en-US" sz="1200" dirty="0">
              <a:solidFill>
                <a:schemeClr val="accent5"/>
              </a:solidFill>
            </a:endParaRPr>
          </a:p>
        </p:txBody>
      </p:sp>
      <p:cxnSp>
        <p:nvCxnSpPr>
          <p:cNvPr id="17" name="Straight Arrow Connector 16"/>
          <p:cNvCxnSpPr/>
          <p:nvPr/>
        </p:nvCxnSpPr>
        <p:spPr>
          <a:xfrm>
            <a:off x="5470494" y="2633409"/>
            <a:ext cx="74676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8" name="Rectangle 17"/>
          <p:cNvSpPr/>
          <p:nvPr/>
        </p:nvSpPr>
        <p:spPr>
          <a:xfrm>
            <a:off x="6417371" y="2347659"/>
            <a:ext cx="1493520" cy="560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accent5"/>
                </a:solidFill>
              </a:rPr>
              <a:t>Auto Linking to Purchase Order</a:t>
            </a:r>
            <a:endParaRPr lang="en-US" sz="1200" dirty="0">
              <a:solidFill>
                <a:schemeClr val="accent5"/>
              </a:solidFill>
            </a:endParaRPr>
          </a:p>
        </p:txBody>
      </p:sp>
      <p:sp>
        <p:nvSpPr>
          <p:cNvPr id="19" name="Rectangle 18"/>
          <p:cNvSpPr/>
          <p:nvPr/>
        </p:nvSpPr>
        <p:spPr>
          <a:xfrm>
            <a:off x="6417371" y="3044889"/>
            <a:ext cx="1493520" cy="560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accent5"/>
                </a:solidFill>
              </a:rPr>
              <a:t>Triggers Approval Flow in ERP System</a:t>
            </a:r>
            <a:endParaRPr lang="en-US" sz="1200" dirty="0">
              <a:solidFill>
                <a:schemeClr val="accent5"/>
              </a:solidFill>
            </a:endParaRPr>
          </a:p>
        </p:txBody>
      </p:sp>
      <p:sp>
        <p:nvSpPr>
          <p:cNvPr id="20" name="Rectangle 19"/>
          <p:cNvSpPr/>
          <p:nvPr/>
        </p:nvSpPr>
        <p:spPr>
          <a:xfrm>
            <a:off x="6417371" y="3736404"/>
            <a:ext cx="1493520" cy="560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accent5"/>
                </a:solidFill>
              </a:rPr>
              <a:t>System Submits Credit Transfer at Scheduled Time</a:t>
            </a:r>
            <a:endParaRPr lang="en-US" sz="1200" dirty="0">
              <a:solidFill>
                <a:schemeClr val="accent5"/>
              </a:solidFill>
            </a:endParaRPr>
          </a:p>
        </p:txBody>
      </p:sp>
      <p:cxnSp>
        <p:nvCxnSpPr>
          <p:cNvPr id="22" name="Straight Arrow Connector 21"/>
          <p:cNvCxnSpPr/>
          <p:nvPr/>
        </p:nvCxnSpPr>
        <p:spPr>
          <a:xfrm flipH="1">
            <a:off x="5440680" y="4016439"/>
            <a:ext cx="806388"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3750371" y="3736404"/>
            <a:ext cx="1493520" cy="560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accent5"/>
                </a:solidFill>
              </a:rPr>
              <a:t>API Integration to ERP/Payables System</a:t>
            </a:r>
            <a:endParaRPr lang="en-US" sz="1200" dirty="0">
              <a:solidFill>
                <a:schemeClr val="accent5"/>
              </a:solidFill>
            </a:endParaRPr>
          </a:p>
        </p:txBody>
      </p:sp>
      <p:cxnSp>
        <p:nvCxnSpPr>
          <p:cNvPr id="25" name="Straight Arrow Connector 24"/>
          <p:cNvCxnSpPr/>
          <p:nvPr/>
        </p:nvCxnSpPr>
        <p:spPr>
          <a:xfrm flipH="1">
            <a:off x="2732146" y="4016439"/>
            <a:ext cx="806388"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6" name="Rectangle 25"/>
          <p:cNvSpPr/>
          <p:nvPr/>
        </p:nvSpPr>
        <p:spPr>
          <a:xfrm>
            <a:off x="914400" y="3736404"/>
            <a:ext cx="1493520" cy="560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accent5"/>
                </a:solidFill>
              </a:rPr>
              <a:t>Credit Transfer</a:t>
            </a:r>
            <a:endParaRPr lang="en-US" sz="1200" dirty="0">
              <a:solidFill>
                <a:schemeClr val="accent5"/>
              </a:solidFill>
            </a:endParaRPr>
          </a:p>
        </p:txBody>
      </p:sp>
      <p:cxnSp>
        <p:nvCxnSpPr>
          <p:cNvPr id="29" name="Straight Arrow Connector 28"/>
          <p:cNvCxnSpPr/>
          <p:nvPr/>
        </p:nvCxnSpPr>
        <p:spPr>
          <a:xfrm>
            <a:off x="8122920" y="2450529"/>
            <a:ext cx="0" cy="169164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3" name="Footer Placeholder 3"/>
          <p:cNvSpPr txBox="1">
            <a:spLocks/>
          </p:cNvSpPr>
          <p:nvPr/>
        </p:nvSpPr>
        <p:spPr>
          <a:xfrm>
            <a:off x="5444601" y="4879579"/>
            <a:ext cx="2895600" cy="193267"/>
          </a:xfrm>
          <a:prstGeom prst="rect">
            <a:avLst/>
          </a:prstGeom>
        </p:spPr>
        <p:txBody>
          <a:bodyPr anchor="ctr"/>
          <a:lstStyle>
            <a:defPPr>
              <a:defRPr lang="en-US"/>
            </a:defPPr>
            <a:lvl1pPr marL="0" algn="r" defTabSz="457200" rtl="0" eaLnBrk="1" latinLnBrk="0" hangingPunct="1">
              <a:defRPr sz="900" kern="1200" cap="all">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TCH CONFIDENTIAL</a:t>
            </a:r>
            <a:endParaRPr lang="en-US" dirty="0">
              <a:solidFill>
                <a:prstClr val="white"/>
              </a:solidFill>
            </a:endParaRPr>
          </a:p>
        </p:txBody>
      </p:sp>
    </p:spTree>
    <p:extLst>
      <p:ext uri="{BB962C8B-B14F-4D97-AF65-F5344CB8AC3E}">
        <p14:creationId xmlns:p14="http://schemas.microsoft.com/office/powerpoint/2010/main" val="346780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30" grpId="0" animBg="1"/>
      <p:bldP spid="13" grpId="0" animBg="1"/>
      <p:bldP spid="16" grpId="0" animBg="1"/>
      <p:bldP spid="18" grpId="0" animBg="1"/>
      <p:bldP spid="19" grpId="0" animBg="1"/>
      <p:bldP spid="20" grpId="0" animBg="1"/>
      <p:bldP spid="24" grpId="0" animBg="1"/>
      <p:bldP spid="2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075" name="Picture 3">
            <a:hlinkClick r:id="rId2"/>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12526" t="12149" r="13451" b="6262"/>
          <a:stretch/>
        </p:blipFill>
        <p:spPr bwMode="auto">
          <a:xfrm>
            <a:off x="951731" y="347472"/>
            <a:ext cx="7240538" cy="44868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250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098"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030" t="11855" r="12788" b="4495"/>
          <a:stretch/>
        </p:blipFill>
        <p:spPr bwMode="auto">
          <a:xfrm>
            <a:off x="861262" y="282829"/>
            <a:ext cx="7318101" cy="4577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8493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123" name="Picture 3"/>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196" t="11561" r="12788" b="3906"/>
          <a:stretch/>
        </p:blipFill>
        <p:spPr bwMode="auto">
          <a:xfrm>
            <a:off x="914400" y="241160"/>
            <a:ext cx="7315200" cy="4634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933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147" name="Picture 3"/>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030" t="11855" r="12789" b="4201"/>
          <a:stretch/>
        </p:blipFill>
        <p:spPr bwMode="auto">
          <a:xfrm>
            <a:off x="914400" y="275681"/>
            <a:ext cx="7315200" cy="45921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59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7170"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195" t="11855" r="12954" b="4201"/>
          <a:stretch/>
        </p:blipFill>
        <p:spPr bwMode="auto">
          <a:xfrm>
            <a:off x="914400" y="265520"/>
            <a:ext cx="7315200" cy="4612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750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8194"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361" t="11855" r="12789" b="4201"/>
          <a:stretch/>
        </p:blipFill>
        <p:spPr bwMode="auto">
          <a:xfrm>
            <a:off x="914400" y="265521"/>
            <a:ext cx="7315200" cy="46124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3642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9218"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196" t="11855" r="12788" b="4495"/>
          <a:stretch/>
        </p:blipFill>
        <p:spPr bwMode="auto">
          <a:xfrm>
            <a:off x="914400" y="278686"/>
            <a:ext cx="7315200" cy="4586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211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0242"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361" t="12149" r="12789" b="4201"/>
          <a:stretch/>
        </p:blipFill>
        <p:spPr bwMode="auto">
          <a:xfrm>
            <a:off x="914400" y="273613"/>
            <a:ext cx="7315200" cy="4596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157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1266"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361" t="11855" r="12954" b="4201"/>
          <a:stretch/>
        </p:blipFill>
        <p:spPr bwMode="auto">
          <a:xfrm>
            <a:off x="914400" y="260406"/>
            <a:ext cx="7315200" cy="4622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906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p:cNvSpPr>
            <a:spLocks noGrp="1"/>
          </p:cNvSpPr>
          <p:nvPr>
            <p:ph type="title"/>
          </p:nvPr>
        </p:nvSpPr>
        <p:spPr/>
        <p:txBody>
          <a:bodyPr/>
          <a:lstStyle/>
          <a:p>
            <a:r>
              <a:rPr lang="en-US" dirty="0" smtClean="0"/>
              <a:t>The Clearing House:  A Hub for Interbank Exchanges and Innovation</a:t>
            </a:r>
            <a:endParaRPr lang="en-US" dirty="0"/>
          </a:p>
        </p:txBody>
      </p:sp>
      <p:grpSp>
        <p:nvGrpSpPr>
          <p:cNvPr id="2" name="Group 1"/>
          <p:cNvGrpSpPr/>
          <p:nvPr/>
        </p:nvGrpSpPr>
        <p:grpSpPr>
          <a:xfrm>
            <a:off x="410251" y="999591"/>
            <a:ext cx="5629404" cy="1099327"/>
            <a:chOff x="410251" y="1141197"/>
            <a:chExt cx="5629404" cy="1465769"/>
          </a:xfrm>
        </p:grpSpPr>
        <p:pic>
          <p:nvPicPr>
            <p:cNvPr id="2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5249"/>
            <a:stretch/>
          </p:blipFill>
          <p:spPr bwMode="auto">
            <a:xfrm flipH="1">
              <a:off x="2063177" y="1141197"/>
              <a:ext cx="1469858" cy="1465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Content Placeholder 2"/>
            <p:cNvSpPr txBox="1">
              <a:spLocks/>
            </p:cNvSpPr>
            <p:nvPr/>
          </p:nvSpPr>
          <p:spPr>
            <a:xfrm>
              <a:off x="3730321" y="1489166"/>
              <a:ext cx="2309334" cy="945542"/>
            </a:xfrm>
            <a:prstGeom prst="rect">
              <a:avLst/>
            </a:prstGeom>
          </p:spPr>
          <p:txBody>
            <a:bodyPr vert="horz" wrap="square" lIns="0" tIns="0" rIns="0" bIns="0" numCol="1" spcCol="228600" rtlCol="0">
              <a:normAutofit lnSpcReduction="10000"/>
            </a:bodyPr>
            <a:lstStyle>
              <a:lvl1pPr marL="231775" indent="-228600" algn="l" defTabSz="457200" rtl="0" eaLnBrk="1" latinLnBrk="0" hangingPunct="1">
                <a:lnSpc>
                  <a:spcPct val="114000"/>
                </a:lnSpc>
                <a:spcBef>
                  <a:spcPts val="600"/>
                </a:spcBef>
                <a:buClr>
                  <a:schemeClr val="accent1"/>
                </a:buClr>
                <a:buFont typeface="Arial"/>
                <a:buChar char="•"/>
                <a:defRPr sz="1400" kern="1200">
                  <a:solidFill>
                    <a:schemeClr val="tx1">
                      <a:lumMod val="50000"/>
                    </a:schemeClr>
                  </a:solidFill>
                  <a:latin typeface="+mn-lt"/>
                  <a:ea typeface="+mn-ea"/>
                  <a:cs typeface="+mn-cs"/>
                </a:defRPr>
              </a:lvl1pPr>
              <a:lvl2pPr marL="457200" indent="-228600" algn="l" defTabSz="457200" rtl="0" eaLnBrk="1" latinLnBrk="0" hangingPunct="1">
                <a:lnSpc>
                  <a:spcPct val="114000"/>
                </a:lnSpc>
                <a:spcBef>
                  <a:spcPts val="600"/>
                </a:spcBef>
                <a:buClr>
                  <a:schemeClr val="accent2"/>
                </a:buClr>
                <a:buFont typeface="Arial"/>
                <a:buChar char="–"/>
                <a:defRPr sz="1400" kern="1200">
                  <a:solidFill>
                    <a:schemeClr val="tx1">
                      <a:lumMod val="50000"/>
                    </a:schemeClr>
                  </a:solidFill>
                  <a:latin typeface="+mn-lt"/>
                  <a:ea typeface="+mn-ea"/>
                  <a:cs typeface="+mn-cs"/>
                </a:defRPr>
              </a:lvl2pPr>
              <a:lvl3pPr marL="688975" indent="-228600" algn="l" defTabSz="457200" rtl="0" eaLnBrk="1" latinLnBrk="0" hangingPunct="1">
                <a:lnSpc>
                  <a:spcPct val="114000"/>
                </a:lnSpc>
                <a:spcBef>
                  <a:spcPts val="600"/>
                </a:spcBef>
                <a:buClr>
                  <a:schemeClr val="accent2"/>
                </a:buClr>
                <a:buFont typeface="Arial"/>
                <a:buChar char="•"/>
                <a:defRPr sz="1400" kern="1200">
                  <a:solidFill>
                    <a:schemeClr val="tx1">
                      <a:lumMod val="50000"/>
                    </a:schemeClr>
                  </a:solidFill>
                  <a:latin typeface="+mn-lt"/>
                  <a:ea typeface="+mn-ea"/>
                  <a:cs typeface="+mn-cs"/>
                </a:defRPr>
              </a:lvl3pPr>
              <a:lvl4pPr marL="914400" indent="-228600" algn="l" defTabSz="457200" rtl="0" eaLnBrk="1" latinLnBrk="0" hangingPunct="1">
                <a:lnSpc>
                  <a:spcPct val="114000"/>
                </a:lnSpc>
                <a:spcBef>
                  <a:spcPts val="600"/>
                </a:spcBef>
                <a:buClr>
                  <a:schemeClr val="accent2"/>
                </a:buClr>
                <a:buFont typeface="Arial"/>
                <a:buChar char="–"/>
                <a:tabLst/>
                <a:defRPr sz="1400" kern="1200">
                  <a:solidFill>
                    <a:schemeClr val="tx1">
                      <a:lumMod val="50000"/>
                    </a:schemeClr>
                  </a:solidFill>
                  <a:latin typeface="+mn-lt"/>
                  <a:ea typeface="+mn-ea"/>
                  <a:cs typeface="+mn-cs"/>
                </a:defRPr>
              </a:lvl4pPr>
              <a:lvl5pPr marL="1143000" indent="-228600" algn="l" defTabSz="457200" rtl="0" eaLnBrk="1" latinLnBrk="0" hangingPunct="1">
                <a:lnSpc>
                  <a:spcPct val="114000"/>
                </a:lnSpc>
                <a:spcBef>
                  <a:spcPts val="600"/>
                </a:spcBef>
                <a:buClr>
                  <a:schemeClr val="accent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175" indent="0">
                <a:buNone/>
              </a:pPr>
              <a:r>
                <a:rPr lang="en-US" b="1" dirty="0" smtClean="0">
                  <a:solidFill>
                    <a:schemeClr val="tx2"/>
                  </a:solidFill>
                </a:rPr>
                <a:t>Founded by </a:t>
              </a:r>
              <a:r>
                <a:rPr lang="en-US" dirty="0" smtClean="0"/>
                <a:t>New York banks to improve efficiency and remove risk from daily exchanges</a:t>
              </a:r>
              <a:endParaRPr lang="en-US" dirty="0"/>
            </a:p>
          </p:txBody>
        </p:sp>
        <p:sp>
          <p:nvSpPr>
            <p:cNvPr id="27" name="Rectangle 26"/>
            <p:cNvSpPr/>
            <p:nvPr/>
          </p:nvSpPr>
          <p:spPr>
            <a:xfrm>
              <a:off x="410253" y="1141321"/>
              <a:ext cx="1470444" cy="146564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TextBox 27"/>
            <p:cNvSpPr txBox="1"/>
            <p:nvPr/>
          </p:nvSpPr>
          <p:spPr>
            <a:xfrm>
              <a:off x="410251" y="1677820"/>
              <a:ext cx="1455240" cy="492443"/>
            </a:xfrm>
            <a:prstGeom prst="rect">
              <a:avLst/>
            </a:prstGeom>
            <a:noFill/>
          </p:spPr>
          <p:txBody>
            <a:bodyPr wrap="square" rtlCol="0">
              <a:spAutoFit/>
            </a:bodyPr>
            <a:lstStyle/>
            <a:p>
              <a:pPr algn="ctr"/>
              <a:r>
                <a:rPr lang="en-US" b="1" dirty="0" smtClean="0">
                  <a:solidFill>
                    <a:schemeClr val="tx2"/>
                  </a:solidFill>
                </a:rPr>
                <a:t>1853</a:t>
              </a:r>
              <a:endParaRPr lang="en-US" b="1" dirty="0">
                <a:solidFill>
                  <a:schemeClr val="tx2"/>
                </a:solidFill>
              </a:endParaRPr>
            </a:p>
          </p:txBody>
        </p:sp>
      </p:grpSp>
      <p:grpSp>
        <p:nvGrpSpPr>
          <p:cNvPr id="6" name="Group 5"/>
          <p:cNvGrpSpPr/>
          <p:nvPr/>
        </p:nvGrpSpPr>
        <p:grpSpPr>
          <a:xfrm>
            <a:off x="410250" y="2321793"/>
            <a:ext cx="8103212" cy="1104006"/>
            <a:chOff x="410250" y="2904133"/>
            <a:chExt cx="8103212" cy="1472008"/>
          </a:xfrm>
        </p:grpSpPr>
        <p:pic>
          <p:nvPicPr>
            <p:cNvPr id="21"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r="40276"/>
            <a:stretch/>
          </p:blipFill>
          <p:spPr bwMode="auto">
            <a:xfrm flipH="1">
              <a:off x="2912866" y="2904133"/>
              <a:ext cx="1481405" cy="14673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Content Placeholder 2"/>
            <p:cNvSpPr txBox="1">
              <a:spLocks/>
            </p:cNvSpPr>
            <p:nvPr/>
          </p:nvSpPr>
          <p:spPr>
            <a:xfrm>
              <a:off x="4612079" y="3093868"/>
              <a:ext cx="3901383" cy="1142665"/>
            </a:xfrm>
            <a:prstGeom prst="rect">
              <a:avLst/>
            </a:prstGeom>
          </p:spPr>
          <p:txBody>
            <a:bodyPr vert="horz" wrap="square" lIns="0" tIns="0" rIns="0" bIns="0" numCol="1" spcCol="228600" rtlCol="0">
              <a:normAutofit fontScale="92500" lnSpcReduction="10000"/>
            </a:bodyPr>
            <a:lstStyle>
              <a:lvl1pPr marL="231775" indent="-228600" algn="l" defTabSz="457200" rtl="0" eaLnBrk="1" latinLnBrk="0" hangingPunct="1">
                <a:lnSpc>
                  <a:spcPct val="114000"/>
                </a:lnSpc>
                <a:spcBef>
                  <a:spcPts val="600"/>
                </a:spcBef>
                <a:buClr>
                  <a:schemeClr val="accent1"/>
                </a:buClr>
                <a:buFont typeface="Arial"/>
                <a:buChar char="•"/>
                <a:defRPr sz="1400" kern="1200">
                  <a:solidFill>
                    <a:schemeClr val="tx1">
                      <a:lumMod val="50000"/>
                    </a:schemeClr>
                  </a:solidFill>
                  <a:latin typeface="+mn-lt"/>
                  <a:ea typeface="+mn-ea"/>
                  <a:cs typeface="+mn-cs"/>
                </a:defRPr>
              </a:lvl1pPr>
              <a:lvl2pPr marL="457200" indent="-228600" algn="l" defTabSz="457200" rtl="0" eaLnBrk="1" latinLnBrk="0" hangingPunct="1">
                <a:lnSpc>
                  <a:spcPct val="114000"/>
                </a:lnSpc>
                <a:spcBef>
                  <a:spcPts val="600"/>
                </a:spcBef>
                <a:buClr>
                  <a:schemeClr val="accent2"/>
                </a:buClr>
                <a:buFont typeface="Arial"/>
                <a:buChar char="–"/>
                <a:defRPr sz="1400" kern="1200">
                  <a:solidFill>
                    <a:schemeClr val="tx1">
                      <a:lumMod val="50000"/>
                    </a:schemeClr>
                  </a:solidFill>
                  <a:latin typeface="+mn-lt"/>
                  <a:ea typeface="+mn-ea"/>
                  <a:cs typeface="+mn-cs"/>
                </a:defRPr>
              </a:lvl2pPr>
              <a:lvl3pPr marL="688975" indent="-228600" algn="l" defTabSz="457200" rtl="0" eaLnBrk="1" latinLnBrk="0" hangingPunct="1">
                <a:lnSpc>
                  <a:spcPct val="114000"/>
                </a:lnSpc>
                <a:spcBef>
                  <a:spcPts val="600"/>
                </a:spcBef>
                <a:buClr>
                  <a:schemeClr val="accent2"/>
                </a:buClr>
                <a:buFont typeface="Arial"/>
                <a:buChar char="•"/>
                <a:defRPr sz="1400" kern="1200">
                  <a:solidFill>
                    <a:schemeClr val="tx1">
                      <a:lumMod val="50000"/>
                    </a:schemeClr>
                  </a:solidFill>
                  <a:latin typeface="+mn-lt"/>
                  <a:ea typeface="+mn-ea"/>
                  <a:cs typeface="+mn-cs"/>
                </a:defRPr>
              </a:lvl3pPr>
              <a:lvl4pPr marL="914400" indent="-228600" algn="l" defTabSz="457200" rtl="0" eaLnBrk="1" latinLnBrk="0" hangingPunct="1">
                <a:lnSpc>
                  <a:spcPct val="114000"/>
                </a:lnSpc>
                <a:spcBef>
                  <a:spcPts val="600"/>
                </a:spcBef>
                <a:buClr>
                  <a:schemeClr val="accent2"/>
                </a:buClr>
                <a:buFont typeface="Arial"/>
                <a:buChar char="–"/>
                <a:tabLst/>
                <a:defRPr sz="1400" kern="1200">
                  <a:solidFill>
                    <a:schemeClr val="tx1">
                      <a:lumMod val="50000"/>
                    </a:schemeClr>
                  </a:solidFill>
                  <a:latin typeface="+mn-lt"/>
                  <a:ea typeface="+mn-ea"/>
                  <a:cs typeface="+mn-cs"/>
                </a:defRPr>
              </a:lvl4pPr>
              <a:lvl5pPr marL="1143000" indent="-228600" algn="l" defTabSz="457200" rtl="0" eaLnBrk="1" latinLnBrk="0" hangingPunct="1">
                <a:lnSpc>
                  <a:spcPct val="114000"/>
                </a:lnSpc>
                <a:spcBef>
                  <a:spcPts val="600"/>
                </a:spcBef>
                <a:buClr>
                  <a:schemeClr val="accent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175" indent="0">
                <a:buNone/>
              </a:pPr>
              <a:r>
                <a:rPr lang="en-US" b="1" dirty="0" smtClean="0">
                  <a:solidFill>
                    <a:schemeClr val="tx2"/>
                  </a:solidFill>
                </a:rPr>
                <a:t>Owns and operates </a:t>
              </a:r>
              <a:r>
                <a:rPr lang="en-US" dirty="0" smtClean="0"/>
                <a:t>core U.S. payments system infrastructure, clearing and settling approximately $2 trillion each day, representing half of all commercial ACH, wire and check image exchange volume</a:t>
              </a:r>
            </a:p>
            <a:p>
              <a:endParaRPr lang="en-US" dirty="0"/>
            </a:p>
          </p:txBody>
        </p:sp>
        <p:sp>
          <p:nvSpPr>
            <p:cNvPr id="25" name="Rectangle 24"/>
            <p:cNvSpPr/>
            <p:nvPr/>
          </p:nvSpPr>
          <p:spPr>
            <a:xfrm>
              <a:off x="1249903" y="2904133"/>
              <a:ext cx="1476828" cy="147200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p:cNvSpPr txBox="1"/>
            <p:nvPr/>
          </p:nvSpPr>
          <p:spPr>
            <a:xfrm>
              <a:off x="1249903" y="3442685"/>
              <a:ext cx="1476828" cy="492443"/>
            </a:xfrm>
            <a:prstGeom prst="rect">
              <a:avLst/>
            </a:prstGeom>
            <a:noFill/>
          </p:spPr>
          <p:txBody>
            <a:bodyPr wrap="square" rtlCol="0">
              <a:spAutoFit/>
            </a:bodyPr>
            <a:lstStyle/>
            <a:p>
              <a:pPr algn="ctr"/>
              <a:r>
                <a:rPr lang="en-US" b="1" dirty="0" smtClean="0">
                  <a:solidFill>
                    <a:schemeClr val="tx2"/>
                  </a:solidFill>
                </a:rPr>
                <a:t>TODAY</a:t>
              </a:r>
              <a:endParaRPr lang="en-US" b="1" dirty="0">
                <a:solidFill>
                  <a:schemeClr val="tx2"/>
                </a:solidFill>
              </a:endParaRPr>
            </a:p>
          </p:txBody>
        </p:sp>
        <p:sp>
          <p:nvSpPr>
            <p:cNvPr id="34" name="Right Arrow 33"/>
            <p:cNvSpPr/>
            <p:nvPr/>
          </p:nvSpPr>
          <p:spPr>
            <a:xfrm>
              <a:off x="410250" y="3386757"/>
              <a:ext cx="792335" cy="497264"/>
            </a:xfrm>
            <a:prstGeom prst="rightArrow">
              <a:avLst/>
            </a:prstGeom>
            <a:gradFill>
              <a:gsLst>
                <a:gs pos="0">
                  <a:schemeClr val="accent1">
                    <a:lumMod val="5000"/>
                    <a:lumOff val="95000"/>
                  </a:schemeClr>
                </a:gs>
                <a:gs pos="100000">
                  <a:schemeClr val="accent1">
                    <a:lumMod val="45000"/>
                    <a:lumOff val="55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 name="Group 16"/>
          <p:cNvGrpSpPr/>
          <p:nvPr/>
        </p:nvGrpSpPr>
        <p:grpSpPr>
          <a:xfrm>
            <a:off x="410250" y="3629588"/>
            <a:ext cx="8221158" cy="1098910"/>
            <a:chOff x="410250" y="4647860"/>
            <a:chExt cx="8221158" cy="1465213"/>
          </a:xfrm>
        </p:grpSpPr>
        <p:sp>
          <p:nvSpPr>
            <p:cNvPr id="18" name="Rectangle 17"/>
            <p:cNvSpPr/>
            <p:nvPr/>
          </p:nvSpPr>
          <p:spPr>
            <a:xfrm>
              <a:off x="3632120" y="4648638"/>
              <a:ext cx="1469270" cy="1464435"/>
            </a:xfrm>
            <a:prstGeom prst="rect">
              <a:avLst/>
            </a:prstGeom>
            <a:solidFill>
              <a:schemeClr val="bg1"/>
            </a:solid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9" name="Picture 18" descr="TCH223_RTP_Logo_final_sansbox_RGB_092316.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3952" y="5092295"/>
              <a:ext cx="1403269" cy="601676"/>
            </a:xfrm>
            <a:prstGeom prst="rect">
              <a:avLst/>
            </a:prstGeom>
          </p:spPr>
        </p:pic>
        <p:sp>
          <p:nvSpPr>
            <p:cNvPr id="24" name="Content Placeholder 2"/>
            <p:cNvSpPr txBox="1">
              <a:spLocks/>
            </p:cNvSpPr>
            <p:nvPr/>
          </p:nvSpPr>
          <p:spPr>
            <a:xfrm>
              <a:off x="5282727" y="5067741"/>
              <a:ext cx="3348681" cy="960284"/>
            </a:xfrm>
            <a:prstGeom prst="rect">
              <a:avLst/>
            </a:prstGeom>
          </p:spPr>
          <p:txBody>
            <a:bodyPr vert="horz" wrap="square" lIns="0" tIns="0" rIns="0" bIns="0" numCol="1" spcCol="228600" rtlCol="0">
              <a:normAutofit lnSpcReduction="10000"/>
            </a:bodyPr>
            <a:lstStyle>
              <a:lvl1pPr marL="231775" indent="-228600" algn="l" defTabSz="457200" rtl="0" eaLnBrk="1" latinLnBrk="0" hangingPunct="1">
                <a:lnSpc>
                  <a:spcPct val="114000"/>
                </a:lnSpc>
                <a:spcBef>
                  <a:spcPts val="600"/>
                </a:spcBef>
                <a:buClr>
                  <a:schemeClr val="accent1"/>
                </a:buClr>
                <a:buFont typeface="Arial"/>
                <a:buChar char="•"/>
                <a:defRPr sz="1400" kern="1200">
                  <a:solidFill>
                    <a:schemeClr val="tx1">
                      <a:lumMod val="50000"/>
                    </a:schemeClr>
                  </a:solidFill>
                  <a:latin typeface="+mn-lt"/>
                  <a:ea typeface="+mn-ea"/>
                  <a:cs typeface="+mn-cs"/>
                </a:defRPr>
              </a:lvl1pPr>
              <a:lvl2pPr marL="457200" indent="-228600" algn="l" defTabSz="457200" rtl="0" eaLnBrk="1" latinLnBrk="0" hangingPunct="1">
                <a:lnSpc>
                  <a:spcPct val="114000"/>
                </a:lnSpc>
                <a:spcBef>
                  <a:spcPts val="600"/>
                </a:spcBef>
                <a:buClr>
                  <a:schemeClr val="accent2"/>
                </a:buClr>
                <a:buFont typeface="Arial"/>
                <a:buChar char="–"/>
                <a:defRPr sz="1400" kern="1200">
                  <a:solidFill>
                    <a:schemeClr val="tx1">
                      <a:lumMod val="50000"/>
                    </a:schemeClr>
                  </a:solidFill>
                  <a:latin typeface="+mn-lt"/>
                  <a:ea typeface="+mn-ea"/>
                  <a:cs typeface="+mn-cs"/>
                </a:defRPr>
              </a:lvl2pPr>
              <a:lvl3pPr marL="688975" indent="-228600" algn="l" defTabSz="457200" rtl="0" eaLnBrk="1" latinLnBrk="0" hangingPunct="1">
                <a:lnSpc>
                  <a:spcPct val="114000"/>
                </a:lnSpc>
                <a:spcBef>
                  <a:spcPts val="600"/>
                </a:spcBef>
                <a:buClr>
                  <a:schemeClr val="accent2"/>
                </a:buClr>
                <a:buFont typeface="Arial"/>
                <a:buChar char="•"/>
                <a:defRPr sz="1400" kern="1200">
                  <a:solidFill>
                    <a:schemeClr val="tx1">
                      <a:lumMod val="50000"/>
                    </a:schemeClr>
                  </a:solidFill>
                  <a:latin typeface="+mn-lt"/>
                  <a:ea typeface="+mn-ea"/>
                  <a:cs typeface="+mn-cs"/>
                </a:defRPr>
              </a:lvl3pPr>
              <a:lvl4pPr marL="914400" indent="-228600" algn="l" defTabSz="457200" rtl="0" eaLnBrk="1" latinLnBrk="0" hangingPunct="1">
                <a:lnSpc>
                  <a:spcPct val="114000"/>
                </a:lnSpc>
                <a:spcBef>
                  <a:spcPts val="600"/>
                </a:spcBef>
                <a:buClr>
                  <a:schemeClr val="accent2"/>
                </a:buClr>
                <a:buFont typeface="Arial"/>
                <a:buChar char="–"/>
                <a:tabLst/>
                <a:defRPr sz="1400" kern="1200">
                  <a:solidFill>
                    <a:schemeClr val="tx1">
                      <a:lumMod val="50000"/>
                    </a:schemeClr>
                  </a:solidFill>
                  <a:latin typeface="+mn-lt"/>
                  <a:ea typeface="+mn-ea"/>
                  <a:cs typeface="+mn-cs"/>
                </a:defRPr>
              </a:lvl4pPr>
              <a:lvl5pPr marL="1143000" indent="-228600" algn="l" defTabSz="457200" rtl="0" eaLnBrk="1" latinLnBrk="0" hangingPunct="1">
                <a:lnSpc>
                  <a:spcPct val="114000"/>
                </a:lnSpc>
                <a:spcBef>
                  <a:spcPts val="600"/>
                </a:spcBef>
                <a:buClr>
                  <a:schemeClr val="accent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175" indent="0">
                <a:buNone/>
              </a:pPr>
              <a:r>
                <a:rPr lang="en-US" b="1" dirty="0" smtClean="0">
                  <a:solidFill>
                    <a:schemeClr val="tx2"/>
                  </a:solidFill>
                </a:rPr>
                <a:t>Working to modernize the U.S. payments infrastructure by building a new, ubiquitous, real-time payment system</a:t>
              </a:r>
            </a:p>
            <a:p>
              <a:endParaRPr lang="en-US" dirty="0"/>
            </a:p>
          </p:txBody>
        </p:sp>
        <p:sp>
          <p:nvSpPr>
            <p:cNvPr id="30" name="Rectangle 29"/>
            <p:cNvSpPr/>
            <p:nvPr/>
          </p:nvSpPr>
          <p:spPr>
            <a:xfrm>
              <a:off x="1980927" y="4647860"/>
              <a:ext cx="1469856" cy="14650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TextBox 30"/>
            <p:cNvSpPr txBox="1"/>
            <p:nvPr/>
          </p:nvSpPr>
          <p:spPr>
            <a:xfrm>
              <a:off x="1980925" y="5195723"/>
              <a:ext cx="1469858" cy="492443"/>
            </a:xfrm>
            <a:prstGeom prst="rect">
              <a:avLst/>
            </a:prstGeom>
            <a:noFill/>
          </p:spPr>
          <p:txBody>
            <a:bodyPr wrap="square" rtlCol="0">
              <a:spAutoFit/>
            </a:bodyPr>
            <a:lstStyle/>
            <a:p>
              <a:pPr algn="ctr"/>
              <a:r>
                <a:rPr lang="en-US" b="1" dirty="0" smtClean="0">
                  <a:solidFill>
                    <a:schemeClr val="bg1"/>
                  </a:solidFill>
                </a:rPr>
                <a:t>RIGHT NOW</a:t>
              </a:r>
              <a:endParaRPr lang="en-US" b="1" dirty="0">
                <a:solidFill>
                  <a:schemeClr val="bg1"/>
                </a:solidFill>
              </a:endParaRPr>
            </a:p>
          </p:txBody>
        </p:sp>
        <p:sp>
          <p:nvSpPr>
            <p:cNvPr id="41" name="Right Arrow 40"/>
            <p:cNvSpPr/>
            <p:nvPr/>
          </p:nvSpPr>
          <p:spPr>
            <a:xfrm>
              <a:off x="410250" y="5124379"/>
              <a:ext cx="1470447" cy="497264"/>
            </a:xfrm>
            <a:prstGeom prst="rightArrow">
              <a:avLst/>
            </a:prstGeom>
            <a:gradFill>
              <a:gsLst>
                <a:gs pos="0">
                  <a:schemeClr val="accent1">
                    <a:lumMod val="5000"/>
                    <a:lumOff val="95000"/>
                  </a:schemeClr>
                </a:gs>
                <a:gs pos="100000">
                  <a:schemeClr val="accent1">
                    <a:lumMod val="45000"/>
                    <a:lumOff val="55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3" name="Footer Placeholder 3"/>
          <p:cNvSpPr txBox="1">
            <a:spLocks/>
          </p:cNvSpPr>
          <p:nvPr/>
        </p:nvSpPr>
        <p:spPr>
          <a:xfrm>
            <a:off x="1536749" y="5642489"/>
            <a:ext cx="3249942" cy="2348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chemeClr val="bg1"/>
              </a:solidFill>
            </a:endParaRPr>
          </a:p>
        </p:txBody>
      </p:sp>
      <p:sp>
        <p:nvSpPr>
          <p:cNvPr id="38" name="Footer Placeholder 3"/>
          <p:cNvSpPr txBox="1">
            <a:spLocks/>
          </p:cNvSpPr>
          <p:nvPr/>
        </p:nvSpPr>
        <p:spPr>
          <a:xfrm>
            <a:off x="1521759" y="4885744"/>
            <a:ext cx="3320064" cy="2348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smtClean="0">
                <a:solidFill>
                  <a:schemeClr val="bg1"/>
                </a:solidFill>
              </a:rPr>
              <a:t>©2017  The Clearing House Payments Co. LLC</a:t>
            </a:r>
            <a:endParaRPr lang="en-US" sz="1200" dirty="0">
              <a:solidFill>
                <a:schemeClr val="bg1"/>
              </a:solidFill>
            </a:endParaRPr>
          </a:p>
        </p:txBody>
      </p:sp>
    </p:spTree>
    <p:extLst>
      <p:ext uri="{BB962C8B-B14F-4D97-AF65-F5344CB8AC3E}">
        <p14:creationId xmlns:p14="http://schemas.microsoft.com/office/powerpoint/2010/main" val="410377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2290"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2527" t="12150" r="12788" b="7735"/>
          <a:stretch/>
        </p:blipFill>
        <p:spPr bwMode="auto">
          <a:xfrm>
            <a:off x="914400" y="365837"/>
            <a:ext cx="7315200" cy="4411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0583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alpha val="67000"/>
          </a:schemeClr>
        </a:solidFill>
        <a:effectLst/>
      </p:bgPr>
    </p:bg>
    <p:spTree>
      <p:nvGrpSpPr>
        <p:cNvPr id="1" name=""/>
        <p:cNvGrpSpPr/>
        <p:nvPr/>
      </p:nvGrpSpPr>
      <p:grpSpPr>
        <a:xfrm>
          <a:off x="0" y="0"/>
          <a:ext cx="0" cy="0"/>
          <a:chOff x="0" y="0"/>
          <a:chExt cx="0" cy="0"/>
        </a:xfrm>
      </p:grpSpPr>
      <p:pic>
        <p:nvPicPr>
          <p:cNvPr id="288" name="image89.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90812" y="2869387"/>
            <a:ext cx="4914773" cy="334769"/>
          </a:xfrm>
          <a:prstGeom prst="rect">
            <a:avLst/>
          </a:prstGeom>
          <a:ln w="12700">
            <a:miter lim="400000"/>
          </a:ln>
        </p:spPr>
      </p:pic>
      <p:pic>
        <p:nvPicPr>
          <p:cNvPr id="289" name="image90.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190817" y="3307053"/>
            <a:ext cx="2440736" cy="334769"/>
          </a:xfrm>
          <a:prstGeom prst="rect">
            <a:avLst/>
          </a:prstGeom>
          <a:ln w="12700">
            <a:miter lim="400000"/>
          </a:ln>
        </p:spPr>
      </p:pic>
      <p:pic>
        <p:nvPicPr>
          <p:cNvPr id="290" name="image91.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975068" y="1786599"/>
            <a:ext cx="3193851" cy="587301"/>
          </a:xfrm>
          <a:prstGeom prst="rect">
            <a:avLst/>
          </a:prstGeom>
          <a:ln w="12700">
            <a:miter lim="400000"/>
          </a:ln>
        </p:spPr>
      </p:pic>
    </p:spTree>
    <p:extLst>
      <p:ext uri="{BB962C8B-B14F-4D97-AF65-F5344CB8AC3E}">
        <p14:creationId xmlns:p14="http://schemas.microsoft.com/office/powerpoint/2010/main" val="2765091197"/>
      </p:ext>
    </p:extLst>
  </p:cSld>
  <p:clrMapOvr>
    <a:masterClrMapping/>
  </p:clrMapOvr>
  <mc:AlternateContent xmlns:mc="http://schemas.openxmlformats.org/markup-compatibility/2006" xmlns:p14="http://schemas.microsoft.com/office/powerpoint/2010/main">
    <mc:Choice Requires="p14">
      <p:transition spd="slow">
        <p:dissolv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Real-time payments </a:t>
            </a:r>
            <a:r>
              <a:rPr lang="en-US" dirty="0" smtClean="0"/>
              <a:t>systems are being implemented around </a:t>
            </a:r>
            <a:r>
              <a:rPr lang="en-US" dirty="0"/>
              <a:t>the world</a:t>
            </a:r>
          </a:p>
        </p:txBody>
      </p:sp>
      <p:pic>
        <p:nvPicPr>
          <p:cNvPr id="11" name="Picture 10">
            <a:extLst>
              <a:ext uri="{FF2B5EF4-FFF2-40B4-BE49-F238E27FC236}">
                <a16:creationId xmlns="" xmlns:a16="http://schemas.microsoft.com/office/drawing/2014/main" id="{9ADFD072-87A5-B74E-A12A-F8D5A900FC14}"/>
              </a:ext>
            </a:extLst>
          </p:cNvPr>
          <p:cNvPicPr>
            <a:picLocks noChangeAspect="1"/>
          </p:cNvPicPr>
          <p:nvPr/>
        </p:nvPicPr>
        <p:blipFill>
          <a:blip r:embed="rId3"/>
          <a:stretch>
            <a:fillRect/>
          </a:stretch>
        </p:blipFill>
        <p:spPr>
          <a:xfrm>
            <a:off x="530953" y="1006079"/>
            <a:ext cx="7639652" cy="3801895"/>
          </a:xfrm>
          <a:prstGeom prst="rect">
            <a:avLst/>
          </a:prstGeom>
          <a:ln>
            <a:noFill/>
          </a:ln>
        </p:spPr>
      </p:pic>
      <p:pic>
        <p:nvPicPr>
          <p:cNvPr id="12" name="Picture 11">
            <a:extLst>
              <a:ext uri="{FF2B5EF4-FFF2-40B4-BE49-F238E27FC236}">
                <a16:creationId xmlns="" xmlns:a16="http://schemas.microsoft.com/office/drawing/2014/main" id="{2EA1B5F1-40F3-0B4A-ADE1-A987845533C9}"/>
              </a:ext>
            </a:extLst>
          </p:cNvPr>
          <p:cNvPicPr>
            <a:picLocks noChangeAspect="1"/>
          </p:cNvPicPr>
          <p:nvPr/>
        </p:nvPicPr>
        <p:blipFill>
          <a:blip r:embed="rId4"/>
          <a:stretch>
            <a:fillRect/>
          </a:stretch>
        </p:blipFill>
        <p:spPr>
          <a:xfrm>
            <a:off x="449873" y="3858395"/>
            <a:ext cx="1184031" cy="409575"/>
          </a:xfrm>
          <a:prstGeom prst="rect">
            <a:avLst/>
          </a:prstGeom>
        </p:spPr>
      </p:pic>
      <p:sp>
        <p:nvSpPr>
          <p:cNvPr id="13" name="TextBox 12">
            <a:extLst>
              <a:ext uri="{FF2B5EF4-FFF2-40B4-BE49-F238E27FC236}">
                <a16:creationId xmlns="" xmlns:a16="http://schemas.microsoft.com/office/drawing/2014/main" id="{FC38217D-74ED-B74C-8B3C-C1588189E829}"/>
              </a:ext>
            </a:extLst>
          </p:cNvPr>
          <p:cNvSpPr txBox="1"/>
          <p:nvPr/>
        </p:nvSpPr>
        <p:spPr>
          <a:xfrm>
            <a:off x="1003817" y="3882855"/>
            <a:ext cx="815698" cy="123111"/>
          </a:xfrm>
          <a:prstGeom prst="rect">
            <a:avLst/>
          </a:prstGeom>
          <a:noFill/>
        </p:spPr>
        <p:txBody>
          <a:bodyPr wrap="square" lIns="0" tIns="0" rIns="0" bIns="0" rtlCol="0">
            <a:spAutoFit/>
          </a:bodyPr>
          <a:lstStyle/>
          <a:p>
            <a:pPr defTabSz="389582">
              <a:spcBef>
                <a:spcPts val="511"/>
              </a:spcBef>
              <a:buClr>
                <a:srgbClr val="38A138"/>
              </a:buClr>
            </a:pPr>
            <a:r>
              <a:rPr lang="en-US" sz="800" dirty="0">
                <a:solidFill>
                  <a:prstClr val="black"/>
                </a:solidFill>
              </a:rPr>
              <a:t>(</a:t>
            </a:r>
            <a:r>
              <a:rPr lang="en-US" sz="800" dirty="0" smtClean="0">
                <a:solidFill>
                  <a:prstClr val="black"/>
                </a:solidFill>
              </a:rPr>
              <a:t>30 Countries)</a:t>
            </a:r>
            <a:endParaRPr lang="en-US" sz="800" dirty="0">
              <a:solidFill>
                <a:prstClr val="black"/>
              </a:solidFill>
            </a:endParaRPr>
          </a:p>
        </p:txBody>
      </p:sp>
      <p:sp>
        <p:nvSpPr>
          <p:cNvPr id="14" name="TextBox 13">
            <a:extLst>
              <a:ext uri="{FF2B5EF4-FFF2-40B4-BE49-F238E27FC236}">
                <a16:creationId xmlns="" xmlns:a16="http://schemas.microsoft.com/office/drawing/2014/main" id="{FB41B651-9E1F-564B-A1AF-79D5DB76C3EE}"/>
              </a:ext>
            </a:extLst>
          </p:cNvPr>
          <p:cNvSpPr txBox="1"/>
          <p:nvPr/>
        </p:nvSpPr>
        <p:spPr>
          <a:xfrm>
            <a:off x="1550983" y="4102687"/>
            <a:ext cx="835167" cy="123111"/>
          </a:xfrm>
          <a:prstGeom prst="rect">
            <a:avLst/>
          </a:prstGeom>
          <a:noFill/>
        </p:spPr>
        <p:txBody>
          <a:bodyPr wrap="square" lIns="0" tIns="0" rIns="0" bIns="0" rtlCol="0">
            <a:spAutoFit/>
          </a:bodyPr>
          <a:lstStyle/>
          <a:p>
            <a:pPr defTabSz="389582">
              <a:spcBef>
                <a:spcPts val="511"/>
              </a:spcBef>
              <a:buClr>
                <a:srgbClr val="38A138"/>
              </a:buClr>
            </a:pPr>
            <a:r>
              <a:rPr lang="en-US" sz="800" dirty="0">
                <a:solidFill>
                  <a:prstClr val="black"/>
                </a:solidFill>
              </a:rPr>
              <a:t>(</a:t>
            </a:r>
            <a:r>
              <a:rPr lang="en-US" sz="800" dirty="0" smtClean="0">
                <a:solidFill>
                  <a:prstClr val="black"/>
                </a:solidFill>
              </a:rPr>
              <a:t>15 Countries)</a:t>
            </a:r>
            <a:endParaRPr lang="en-US" sz="800" dirty="0">
              <a:solidFill>
                <a:prstClr val="black"/>
              </a:solidFill>
            </a:endParaRPr>
          </a:p>
        </p:txBody>
      </p:sp>
    </p:spTree>
    <p:custDataLst>
      <p:tags r:id="rId1"/>
    </p:custDataLst>
    <p:extLst>
      <p:ext uri="{BB962C8B-B14F-4D97-AF65-F5344CB8AC3E}">
        <p14:creationId xmlns:p14="http://schemas.microsoft.com/office/powerpoint/2010/main" val="272756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B2B Industry also has many key challenges </a:t>
            </a:r>
            <a:endParaRPr lang="en-US" dirty="0"/>
          </a:p>
        </p:txBody>
      </p:sp>
      <p:sp>
        <p:nvSpPr>
          <p:cNvPr id="6" name="Rectangle 5"/>
          <p:cNvSpPr/>
          <p:nvPr/>
        </p:nvSpPr>
        <p:spPr>
          <a:xfrm>
            <a:off x="6806796" y="1162364"/>
            <a:ext cx="1988820" cy="1234440"/>
          </a:xfrm>
          <a:prstGeom prst="rect">
            <a:avLst/>
          </a:prstGeom>
          <a:solidFill>
            <a:sysClr val="window" lastClr="FFFFFF">
              <a:lumMod val="95000"/>
            </a:sysClr>
          </a:solidFill>
          <a:ln w="19050" cap="flat" cmpd="sng" algn="ctr">
            <a:solidFill>
              <a:sysClr val="window" lastClr="FFFFFF">
                <a:lumMod val="65000"/>
              </a:sysClr>
            </a:solidFill>
            <a:prstDash val="solid"/>
          </a:ln>
          <a:effectLst/>
        </p:spPr>
        <p:txBody>
          <a:bodyPr lIns="41148" tIns="40958" rIns="40958" bIns="40958" rtlCol="0" anchor="t"/>
          <a:lstStyle/>
          <a:p>
            <a:pPr algn="ctr" defTabSz="685800">
              <a:defRPr/>
            </a:pPr>
            <a:r>
              <a:rPr lang="en-US" sz="1050" b="1" kern="0" dirty="0">
                <a:solidFill>
                  <a:srgbClr val="00338D"/>
                </a:solidFill>
                <a:latin typeface="Calibri" panose="020F0502020204030204"/>
                <a:cs typeface="Calibri" panose="020F0502020204030204" pitchFamily="34" charset="0"/>
              </a:rPr>
              <a:t>B2B Market </a:t>
            </a:r>
          </a:p>
          <a:p>
            <a:pPr algn="ctr" defTabSz="685800">
              <a:spcAft>
                <a:spcPts val="225"/>
              </a:spcAft>
              <a:defRPr/>
            </a:pPr>
            <a:r>
              <a:rPr lang="en-US" sz="1050" b="1" kern="0" dirty="0">
                <a:solidFill>
                  <a:srgbClr val="00338D"/>
                </a:solidFill>
                <a:latin typeface="Calibri" panose="020F0502020204030204"/>
                <a:cs typeface="Calibri" panose="020F0502020204030204" pitchFamily="34" charset="0"/>
              </a:rPr>
              <a:t>Fragmentation</a:t>
            </a:r>
          </a:p>
          <a:p>
            <a:pPr algn="ctr" defTabSz="685800">
              <a:spcAft>
                <a:spcPts val="450"/>
              </a:spcAft>
              <a:defRPr/>
            </a:pPr>
            <a:endParaRPr lang="en-US" sz="200" kern="0" dirty="0">
              <a:solidFill>
                <a:srgbClr val="000000"/>
              </a:solidFill>
              <a:latin typeface="Calibri" panose="020F0502020204030204"/>
              <a:cs typeface="Calibri" panose="020F0502020204030204" pitchFamily="34" charset="0"/>
            </a:endParaRPr>
          </a:p>
          <a:p>
            <a:pPr algn="ctr" defTabSz="685800">
              <a:spcAft>
                <a:spcPts val="450"/>
              </a:spcAft>
              <a:defRPr/>
            </a:pPr>
            <a:r>
              <a:rPr lang="en-US" sz="800" kern="0" dirty="0">
                <a:solidFill>
                  <a:srgbClr val="000000"/>
                </a:solidFill>
                <a:latin typeface="Calibri" panose="020F0502020204030204"/>
                <a:cs typeface="Calibri" panose="020F0502020204030204" pitchFamily="34" charset="0"/>
              </a:rPr>
              <a:t>Significant B2B ecosystem fragmentation continues to hinder efficiency. Numerous  solution providers have captured minimal market share, creating isolated networks.</a:t>
            </a:r>
          </a:p>
          <a:p>
            <a:pPr algn="ctr" defTabSz="685800">
              <a:spcAft>
                <a:spcPts val="450"/>
              </a:spcAft>
              <a:defRPr/>
            </a:pPr>
            <a:endParaRPr lang="en-US" sz="800" kern="0" dirty="0">
              <a:solidFill>
                <a:srgbClr val="FF0000"/>
              </a:solidFill>
              <a:latin typeface="Calibri" panose="020F0502020204030204"/>
              <a:cs typeface="Calibri" panose="020F0502020204030204" pitchFamily="34" charset="0"/>
            </a:endParaRPr>
          </a:p>
        </p:txBody>
      </p:sp>
      <p:sp>
        <p:nvSpPr>
          <p:cNvPr id="15" name="Rectangle 14"/>
          <p:cNvSpPr/>
          <p:nvPr/>
        </p:nvSpPr>
        <p:spPr>
          <a:xfrm>
            <a:off x="4652698" y="1162364"/>
            <a:ext cx="1988820" cy="1234440"/>
          </a:xfrm>
          <a:prstGeom prst="rect">
            <a:avLst/>
          </a:prstGeom>
          <a:solidFill>
            <a:sysClr val="window" lastClr="FFFFFF">
              <a:lumMod val="95000"/>
            </a:sysClr>
          </a:solidFill>
          <a:ln w="19050" cap="flat" cmpd="sng" algn="ctr">
            <a:solidFill>
              <a:sysClr val="window" lastClr="FFFFFF">
                <a:lumMod val="65000"/>
              </a:sysClr>
            </a:solidFill>
            <a:prstDash val="solid"/>
          </a:ln>
          <a:effectLst/>
        </p:spPr>
        <p:txBody>
          <a:bodyPr lIns="41148" tIns="40958" rIns="40958" bIns="40958" rtlCol="0" anchor="t"/>
          <a:lstStyle/>
          <a:p>
            <a:pPr algn="ctr" defTabSz="685800">
              <a:defRPr/>
            </a:pPr>
            <a:r>
              <a:rPr lang="en-US" sz="1050" b="1" kern="0" dirty="0">
                <a:solidFill>
                  <a:srgbClr val="00338D"/>
                </a:solidFill>
                <a:latin typeface="Calibri" panose="020F0502020204030204"/>
                <a:cs typeface="Calibri" panose="020F0502020204030204" pitchFamily="34" charset="0"/>
              </a:rPr>
              <a:t>Lack of Standardization of </a:t>
            </a:r>
          </a:p>
          <a:p>
            <a:pPr algn="ctr" defTabSz="685800">
              <a:spcAft>
                <a:spcPts val="225"/>
              </a:spcAft>
              <a:defRPr/>
            </a:pPr>
            <a:r>
              <a:rPr lang="en-US" sz="1050" b="1" kern="0" dirty="0">
                <a:solidFill>
                  <a:srgbClr val="00338D"/>
                </a:solidFill>
                <a:latin typeface="Calibri" panose="020F0502020204030204"/>
                <a:cs typeface="Calibri" panose="020F0502020204030204" pitchFamily="34" charset="0"/>
              </a:rPr>
              <a:t>Information Exchange</a:t>
            </a:r>
          </a:p>
          <a:p>
            <a:pPr algn="ctr" defTabSz="685800">
              <a:spcAft>
                <a:spcPts val="450"/>
              </a:spcAft>
              <a:defRPr/>
            </a:pPr>
            <a:endParaRPr lang="en-US" sz="200" kern="0" dirty="0">
              <a:solidFill>
                <a:srgbClr val="000000"/>
              </a:solidFill>
              <a:latin typeface="Calibri" panose="020F0502020204030204"/>
              <a:cs typeface="Calibri" panose="020F0502020204030204" pitchFamily="34" charset="0"/>
            </a:endParaRPr>
          </a:p>
          <a:p>
            <a:pPr algn="ctr" defTabSz="685800">
              <a:spcAft>
                <a:spcPts val="450"/>
              </a:spcAft>
              <a:defRPr/>
            </a:pPr>
            <a:r>
              <a:rPr lang="en-US" sz="800" kern="0" dirty="0">
                <a:solidFill>
                  <a:srgbClr val="000000"/>
                </a:solidFill>
                <a:latin typeface="Calibri" panose="020F0502020204030204"/>
                <a:cs typeface="Calibri" panose="020F0502020204030204" pitchFamily="34" charset="0"/>
              </a:rPr>
              <a:t>Inconsistent data formats when processing remittance details have been identified as a major challenge by 40% of corporate treasures; similar challenges persist on the Buyer side.</a:t>
            </a:r>
            <a:r>
              <a:rPr lang="en-US" sz="800" kern="0" baseline="30000" dirty="0">
                <a:solidFill>
                  <a:srgbClr val="000000"/>
                </a:solidFill>
                <a:latin typeface="Calibri" panose="020F0502020204030204"/>
                <a:cs typeface="Calibri" panose="020F0502020204030204" pitchFamily="34" charset="0"/>
              </a:rPr>
              <a:t> </a:t>
            </a:r>
            <a:endParaRPr lang="en-US" sz="800" kern="0" dirty="0">
              <a:solidFill>
                <a:srgbClr val="FF0000"/>
              </a:solidFill>
              <a:latin typeface="Calibri" panose="020F0502020204030204"/>
              <a:cs typeface="Calibri" panose="020F0502020204030204" pitchFamily="34" charset="0"/>
            </a:endParaRPr>
          </a:p>
          <a:p>
            <a:pPr algn="ctr" defTabSz="685800">
              <a:spcAft>
                <a:spcPts val="450"/>
              </a:spcAft>
              <a:defRPr/>
            </a:pPr>
            <a:endParaRPr lang="en-US" sz="900" kern="0" dirty="0">
              <a:solidFill>
                <a:srgbClr val="000000"/>
              </a:solidFill>
              <a:latin typeface="Calibri" panose="020F0502020204030204"/>
              <a:cs typeface="Calibri" panose="020F0502020204030204" pitchFamily="34" charset="0"/>
            </a:endParaRPr>
          </a:p>
        </p:txBody>
      </p:sp>
      <p:sp>
        <p:nvSpPr>
          <p:cNvPr id="17" name="Rectangle 16"/>
          <p:cNvSpPr/>
          <p:nvPr/>
        </p:nvSpPr>
        <p:spPr>
          <a:xfrm>
            <a:off x="2497920" y="1162364"/>
            <a:ext cx="1988820" cy="1234440"/>
          </a:xfrm>
          <a:prstGeom prst="rect">
            <a:avLst/>
          </a:prstGeom>
          <a:solidFill>
            <a:sysClr val="window" lastClr="FFFFFF">
              <a:lumMod val="95000"/>
            </a:sysClr>
          </a:solidFill>
          <a:ln w="19050" cap="flat" cmpd="sng" algn="ctr">
            <a:solidFill>
              <a:sysClr val="window" lastClr="FFFFFF">
                <a:lumMod val="65000"/>
              </a:sysClr>
            </a:solidFill>
            <a:prstDash val="solid"/>
          </a:ln>
          <a:effectLst/>
        </p:spPr>
        <p:txBody>
          <a:bodyPr lIns="41148" tIns="40958" rIns="40958" bIns="40958" rtlCol="0" anchor="t"/>
          <a:lstStyle/>
          <a:p>
            <a:pPr algn="ctr" defTabSz="685800">
              <a:defRPr/>
            </a:pPr>
            <a:r>
              <a:rPr lang="en-US" sz="1050" b="1" kern="0" dirty="0">
                <a:solidFill>
                  <a:srgbClr val="00338D"/>
                </a:solidFill>
                <a:latin typeface="Calibri" panose="020F0502020204030204"/>
                <a:cs typeface="Calibri" panose="020F0502020204030204" pitchFamily="34" charset="0"/>
              </a:rPr>
              <a:t>Manual AR / AP </a:t>
            </a:r>
          </a:p>
          <a:p>
            <a:pPr algn="ctr" defTabSz="685800">
              <a:spcAft>
                <a:spcPts val="225"/>
              </a:spcAft>
              <a:defRPr/>
            </a:pPr>
            <a:r>
              <a:rPr lang="en-US" sz="1050" b="1" kern="0" dirty="0">
                <a:solidFill>
                  <a:srgbClr val="00338D"/>
                </a:solidFill>
                <a:latin typeface="Calibri" panose="020F0502020204030204"/>
                <a:cs typeface="Calibri" panose="020F0502020204030204" pitchFamily="34" charset="0"/>
              </a:rPr>
              <a:t>Processing Inefficiencies</a:t>
            </a:r>
          </a:p>
          <a:p>
            <a:pPr marL="0" lvl="1" algn="ctr" defTabSz="685800">
              <a:spcAft>
                <a:spcPts val="450"/>
              </a:spcAft>
              <a:defRPr/>
            </a:pPr>
            <a:endParaRPr lang="en-US" sz="200" kern="0" dirty="0">
              <a:solidFill>
                <a:srgbClr val="000000"/>
              </a:solidFill>
              <a:latin typeface="Calibri" panose="020F0502020204030204"/>
              <a:cs typeface="Calibri" panose="020F0502020204030204" pitchFamily="34" charset="0"/>
            </a:endParaRPr>
          </a:p>
          <a:p>
            <a:pPr marL="0" lvl="1" algn="ctr" defTabSz="685800">
              <a:spcAft>
                <a:spcPts val="450"/>
              </a:spcAft>
              <a:defRPr/>
            </a:pPr>
            <a:r>
              <a:rPr lang="en-US" sz="800" kern="0" dirty="0">
                <a:solidFill>
                  <a:srgbClr val="000000"/>
                </a:solidFill>
                <a:latin typeface="Calibri" panose="020F0502020204030204"/>
                <a:cs typeface="Calibri" panose="020F0502020204030204" pitchFamily="34" charset="0"/>
              </a:rPr>
              <a:t>Of the roughly 25 billion invoices generated yearly in the US, about 75% of those are exchanged physically, resulting in costly manual intervention during financial supply chain processes.</a:t>
            </a:r>
            <a:endParaRPr lang="en-US" sz="800" kern="0" baseline="30000" dirty="0">
              <a:solidFill>
                <a:srgbClr val="000000"/>
              </a:solidFill>
              <a:latin typeface="Calibri" panose="020F0502020204030204"/>
              <a:cs typeface="Calibri" panose="020F0502020204030204" pitchFamily="34" charset="0"/>
            </a:endParaRPr>
          </a:p>
          <a:p>
            <a:pPr marL="0" lvl="1" algn="ctr" defTabSz="685800">
              <a:spcAft>
                <a:spcPts val="450"/>
              </a:spcAft>
              <a:defRPr/>
            </a:pPr>
            <a:r>
              <a:rPr lang="en-US" sz="800" kern="0" dirty="0">
                <a:solidFill>
                  <a:srgbClr val="000000"/>
                </a:solidFill>
                <a:latin typeface="Calibri" panose="020F0502020204030204"/>
                <a:cs typeface="Calibri" panose="020F0502020204030204" pitchFamily="34" charset="0"/>
              </a:rPr>
              <a:t> </a:t>
            </a:r>
          </a:p>
          <a:p>
            <a:pPr algn="ctr" defTabSz="685800">
              <a:spcAft>
                <a:spcPts val="450"/>
              </a:spcAft>
              <a:defRPr/>
            </a:pPr>
            <a:endParaRPr lang="en-US" sz="900" b="1" kern="0" dirty="0">
              <a:solidFill>
                <a:srgbClr val="00338D"/>
              </a:solidFill>
              <a:latin typeface="Calibri" panose="020F0502020204030204"/>
              <a:cs typeface="Calibri" panose="020F0502020204030204" pitchFamily="34" charset="0"/>
            </a:endParaRPr>
          </a:p>
        </p:txBody>
      </p:sp>
      <p:sp>
        <p:nvSpPr>
          <p:cNvPr id="19" name="Rectangle 18"/>
          <p:cNvSpPr/>
          <p:nvPr/>
        </p:nvSpPr>
        <p:spPr>
          <a:xfrm>
            <a:off x="343142" y="1162364"/>
            <a:ext cx="1988820" cy="1234440"/>
          </a:xfrm>
          <a:prstGeom prst="rect">
            <a:avLst/>
          </a:prstGeom>
          <a:solidFill>
            <a:sysClr val="window" lastClr="FFFFFF">
              <a:lumMod val="95000"/>
            </a:sysClr>
          </a:solidFill>
          <a:ln w="19050" cap="flat" cmpd="sng" algn="ctr">
            <a:solidFill>
              <a:sysClr val="window" lastClr="FFFFFF">
                <a:lumMod val="65000"/>
              </a:sysClr>
            </a:solidFill>
            <a:prstDash val="solid"/>
          </a:ln>
          <a:effectLst/>
        </p:spPr>
        <p:txBody>
          <a:bodyPr lIns="41148" tIns="40958" rIns="40958" bIns="40958" rtlCol="0" anchor="t"/>
          <a:lstStyle/>
          <a:p>
            <a:pPr algn="ctr" defTabSz="685800">
              <a:defRPr/>
            </a:pPr>
            <a:r>
              <a:rPr lang="en-US" sz="1050" b="1" kern="0" dirty="0">
                <a:solidFill>
                  <a:srgbClr val="00338D"/>
                </a:solidFill>
                <a:latin typeface="Calibri" panose="020F0502020204030204"/>
                <a:cs typeface="Calibri" panose="020F0502020204030204" pitchFamily="34" charset="0"/>
              </a:rPr>
              <a:t>Incomplete </a:t>
            </a:r>
          </a:p>
          <a:p>
            <a:pPr algn="ctr" defTabSz="685800">
              <a:spcAft>
                <a:spcPts val="225"/>
              </a:spcAft>
              <a:defRPr/>
            </a:pPr>
            <a:r>
              <a:rPr lang="en-US" sz="1050" b="1" kern="0" dirty="0">
                <a:solidFill>
                  <a:srgbClr val="00338D"/>
                </a:solidFill>
                <a:latin typeface="Calibri" panose="020F0502020204030204"/>
                <a:cs typeface="Calibri" panose="020F0502020204030204" pitchFamily="34" charset="0"/>
              </a:rPr>
              <a:t>Reconciliation Data</a:t>
            </a:r>
          </a:p>
          <a:p>
            <a:pPr algn="ctr" defTabSz="685800">
              <a:spcAft>
                <a:spcPts val="450"/>
              </a:spcAft>
              <a:defRPr/>
            </a:pPr>
            <a:endParaRPr lang="en-US" sz="200" kern="0" dirty="0">
              <a:solidFill>
                <a:srgbClr val="000000"/>
              </a:solidFill>
              <a:latin typeface="Calibri" panose="020F0502020204030204"/>
              <a:cs typeface="Calibri" panose="020F0502020204030204" pitchFamily="34" charset="0"/>
            </a:endParaRPr>
          </a:p>
          <a:p>
            <a:pPr algn="ctr" defTabSz="685800">
              <a:spcAft>
                <a:spcPts val="450"/>
              </a:spcAft>
              <a:defRPr/>
            </a:pPr>
            <a:r>
              <a:rPr lang="en-US" sz="800" kern="0" dirty="0">
                <a:solidFill>
                  <a:srgbClr val="000000"/>
                </a:solidFill>
                <a:latin typeface="Calibri" panose="020F0502020204030204"/>
                <a:cs typeface="Calibri" panose="020F0502020204030204" pitchFamily="34" charset="0"/>
              </a:rPr>
              <a:t>Incomplete or absent information has been noted as a top remittance processing pain point by 43% of corporate treasurers (FRB Electronic Payments &amp; Remittance Data survey). Similar data gaps exist on the payables side as well.</a:t>
            </a:r>
            <a:endParaRPr lang="en-US" sz="800" kern="0" baseline="30000" dirty="0">
              <a:solidFill>
                <a:srgbClr val="FF0000"/>
              </a:solidFill>
              <a:latin typeface="Calibri" panose="020F0502020204030204"/>
              <a:cs typeface="Calibri" panose="020F0502020204030204" pitchFamily="34" charset="0"/>
            </a:endParaRPr>
          </a:p>
          <a:p>
            <a:pPr algn="ctr" defTabSz="685800">
              <a:spcAft>
                <a:spcPts val="450"/>
              </a:spcAft>
              <a:defRPr/>
            </a:pPr>
            <a:endParaRPr lang="en-US" sz="800" b="1" kern="0" dirty="0">
              <a:solidFill>
                <a:srgbClr val="00338D"/>
              </a:solidFill>
              <a:latin typeface="Calibri" panose="020F0502020204030204"/>
              <a:cs typeface="Calibri" panose="020F0502020204030204" pitchFamily="34" charset="0"/>
            </a:endParaRPr>
          </a:p>
          <a:p>
            <a:pPr algn="ctr" defTabSz="685800">
              <a:spcAft>
                <a:spcPts val="450"/>
              </a:spcAft>
              <a:defRPr/>
            </a:pPr>
            <a:endParaRPr lang="en-US" sz="700" b="1" kern="0" dirty="0">
              <a:solidFill>
                <a:srgbClr val="000000"/>
              </a:solidFill>
              <a:latin typeface="Calibri" panose="020F0502020204030204"/>
              <a:cs typeface="Calibri" panose="020F0502020204030204" pitchFamily="34" charset="0"/>
            </a:endParaRPr>
          </a:p>
        </p:txBody>
      </p:sp>
      <p:sp>
        <p:nvSpPr>
          <p:cNvPr id="21" name="Oval 267"/>
          <p:cNvSpPr>
            <a:spLocks noChangeArrowheads="1"/>
          </p:cNvSpPr>
          <p:nvPr/>
        </p:nvSpPr>
        <p:spPr bwMode="auto">
          <a:xfrm>
            <a:off x="310483" y="1128208"/>
            <a:ext cx="205740" cy="205740"/>
          </a:xfrm>
          <a:prstGeom prst="ellipse">
            <a:avLst/>
          </a:prstGeom>
          <a:solidFill>
            <a:srgbClr val="0091DA"/>
          </a:solidFill>
          <a:ln w="19050">
            <a:solidFill>
              <a:srgbClr val="00338D"/>
            </a:solidFill>
            <a:round/>
            <a:headEnd/>
            <a:tailEnd/>
          </a:ln>
        </p:spPr>
        <p:txBody>
          <a:bodyPr vert="horz" wrap="square" lIns="0" tIns="0" rIns="0" bIns="0" numCol="1" anchor="ctr" anchorCtr="0" compatLnSpc="1">
            <a:prstTxWarp prst="textNoShape">
              <a:avLst/>
            </a:prstTxWarp>
          </a:bodyPr>
          <a:lstStyle/>
          <a:p>
            <a:pPr algn="ctr" defTabSz="502862"/>
            <a:r>
              <a:rPr lang="en-GB" sz="900" b="1" dirty="0">
                <a:solidFill>
                  <a:prstClr val="white"/>
                </a:solidFill>
                <a:latin typeface="Calibri" panose="020F0502020204030204"/>
                <a:cs typeface="Calibri" panose="020F0502020204030204" pitchFamily="34" charset="0"/>
              </a:rPr>
              <a:t>1</a:t>
            </a:r>
          </a:p>
        </p:txBody>
      </p:sp>
      <p:sp>
        <p:nvSpPr>
          <p:cNvPr id="39" name="Oval 267"/>
          <p:cNvSpPr>
            <a:spLocks noChangeArrowheads="1"/>
          </p:cNvSpPr>
          <p:nvPr/>
        </p:nvSpPr>
        <p:spPr bwMode="auto">
          <a:xfrm>
            <a:off x="2463551" y="1131327"/>
            <a:ext cx="205740" cy="205740"/>
          </a:xfrm>
          <a:prstGeom prst="ellipse">
            <a:avLst/>
          </a:prstGeom>
          <a:solidFill>
            <a:srgbClr val="0091DA"/>
          </a:solidFill>
          <a:ln w="19050">
            <a:solidFill>
              <a:srgbClr val="00338D"/>
            </a:solidFill>
            <a:round/>
            <a:headEnd/>
            <a:tailEnd/>
          </a:ln>
        </p:spPr>
        <p:txBody>
          <a:bodyPr vert="horz" wrap="square" lIns="0" tIns="0" rIns="0" bIns="0" numCol="1" anchor="ctr" anchorCtr="0" compatLnSpc="1">
            <a:prstTxWarp prst="textNoShape">
              <a:avLst/>
            </a:prstTxWarp>
          </a:bodyPr>
          <a:lstStyle/>
          <a:p>
            <a:pPr algn="ctr" defTabSz="502862"/>
            <a:r>
              <a:rPr lang="en-GB" sz="900" b="1" dirty="0">
                <a:solidFill>
                  <a:prstClr val="white"/>
                </a:solidFill>
                <a:latin typeface="Calibri" panose="020F0502020204030204"/>
                <a:cs typeface="Calibri" panose="020F0502020204030204" pitchFamily="34" charset="0"/>
              </a:rPr>
              <a:t>2</a:t>
            </a:r>
          </a:p>
        </p:txBody>
      </p:sp>
      <p:sp>
        <p:nvSpPr>
          <p:cNvPr id="108" name="Oval 267"/>
          <p:cNvSpPr>
            <a:spLocks noChangeArrowheads="1"/>
          </p:cNvSpPr>
          <p:nvPr/>
        </p:nvSpPr>
        <p:spPr bwMode="auto">
          <a:xfrm>
            <a:off x="4620038" y="1131327"/>
            <a:ext cx="205740" cy="205740"/>
          </a:xfrm>
          <a:prstGeom prst="ellipse">
            <a:avLst/>
          </a:prstGeom>
          <a:solidFill>
            <a:srgbClr val="0091DA"/>
          </a:solidFill>
          <a:ln w="19050">
            <a:solidFill>
              <a:srgbClr val="00338D"/>
            </a:solidFill>
            <a:round/>
            <a:headEnd/>
            <a:tailEnd/>
          </a:ln>
        </p:spPr>
        <p:txBody>
          <a:bodyPr vert="horz" wrap="square" lIns="0" tIns="0" rIns="0" bIns="0" numCol="1" anchor="ctr" anchorCtr="0" compatLnSpc="1">
            <a:prstTxWarp prst="textNoShape">
              <a:avLst/>
            </a:prstTxWarp>
          </a:bodyPr>
          <a:lstStyle/>
          <a:p>
            <a:pPr algn="ctr" defTabSz="502862"/>
            <a:r>
              <a:rPr lang="en-GB" sz="900" b="1" dirty="0">
                <a:solidFill>
                  <a:prstClr val="white"/>
                </a:solidFill>
                <a:latin typeface="Calibri" panose="020F0502020204030204"/>
                <a:cs typeface="Calibri" panose="020F0502020204030204" pitchFamily="34" charset="0"/>
              </a:rPr>
              <a:t>3</a:t>
            </a:r>
          </a:p>
        </p:txBody>
      </p:sp>
      <p:sp>
        <p:nvSpPr>
          <p:cNvPr id="110" name="Oval 267"/>
          <p:cNvSpPr>
            <a:spLocks noChangeArrowheads="1"/>
          </p:cNvSpPr>
          <p:nvPr/>
        </p:nvSpPr>
        <p:spPr bwMode="auto">
          <a:xfrm>
            <a:off x="6774816" y="1131327"/>
            <a:ext cx="205740" cy="205740"/>
          </a:xfrm>
          <a:prstGeom prst="ellipse">
            <a:avLst/>
          </a:prstGeom>
          <a:solidFill>
            <a:srgbClr val="0091DA"/>
          </a:solidFill>
          <a:ln w="19050">
            <a:solidFill>
              <a:srgbClr val="00338D"/>
            </a:solidFill>
            <a:round/>
            <a:headEnd/>
            <a:tailEnd/>
          </a:ln>
        </p:spPr>
        <p:txBody>
          <a:bodyPr vert="horz" wrap="square" lIns="0" tIns="0" rIns="0" bIns="0" numCol="1" anchor="ctr" anchorCtr="0" compatLnSpc="1">
            <a:prstTxWarp prst="textNoShape">
              <a:avLst/>
            </a:prstTxWarp>
          </a:bodyPr>
          <a:lstStyle/>
          <a:p>
            <a:pPr algn="ctr" defTabSz="502862"/>
            <a:r>
              <a:rPr lang="en-GB" sz="900" b="1" dirty="0">
                <a:solidFill>
                  <a:prstClr val="white"/>
                </a:solidFill>
                <a:latin typeface="Calibri" panose="020F0502020204030204"/>
                <a:cs typeface="Calibri" panose="020F0502020204030204" pitchFamily="34" charset="0"/>
              </a:rPr>
              <a:t>4</a:t>
            </a:r>
          </a:p>
        </p:txBody>
      </p:sp>
      <p:sp>
        <p:nvSpPr>
          <p:cNvPr id="5" name="Rectangle 4"/>
          <p:cNvSpPr/>
          <p:nvPr/>
        </p:nvSpPr>
        <p:spPr>
          <a:xfrm>
            <a:off x="6806796" y="2490206"/>
            <a:ext cx="1988820" cy="1234440"/>
          </a:xfrm>
          <a:prstGeom prst="rect">
            <a:avLst/>
          </a:prstGeom>
          <a:solidFill>
            <a:sysClr val="window" lastClr="FFFFFF">
              <a:lumMod val="95000"/>
            </a:sysClr>
          </a:solidFill>
          <a:ln w="19050" cap="flat" cmpd="sng" algn="ctr">
            <a:solidFill>
              <a:sysClr val="window" lastClr="FFFFFF">
                <a:lumMod val="65000"/>
              </a:sysClr>
            </a:solidFill>
            <a:prstDash val="solid"/>
          </a:ln>
          <a:effectLst/>
        </p:spPr>
        <p:txBody>
          <a:bodyPr lIns="41148" tIns="40958" rIns="40958" bIns="40958" rtlCol="0" anchor="t"/>
          <a:lstStyle/>
          <a:p>
            <a:pPr algn="ctr" defTabSz="685800">
              <a:defRPr/>
            </a:pPr>
            <a:r>
              <a:rPr lang="en-US" sz="1050" b="1" kern="0" dirty="0">
                <a:solidFill>
                  <a:srgbClr val="00338D"/>
                </a:solidFill>
                <a:latin typeface="Calibri" panose="020F0502020204030204"/>
                <a:cs typeface="Calibri" panose="020F0502020204030204" pitchFamily="34" charset="0"/>
              </a:rPr>
              <a:t>Limited Receivable </a:t>
            </a:r>
          </a:p>
          <a:p>
            <a:pPr algn="ctr" defTabSz="685800">
              <a:spcAft>
                <a:spcPts val="225"/>
              </a:spcAft>
              <a:defRPr/>
            </a:pPr>
            <a:r>
              <a:rPr lang="en-US" sz="1050" b="1" kern="0" dirty="0">
                <a:solidFill>
                  <a:srgbClr val="00338D"/>
                </a:solidFill>
                <a:latin typeface="Calibri" panose="020F0502020204030204"/>
                <a:cs typeface="Calibri" panose="020F0502020204030204" pitchFamily="34" charset="0"/>
              </a:rPr>
              <a:t>Management reach</a:t>
            </a:r>
          </a:p>
          <a:p>
            <a:pPr algn="ctr" defTabSz="685800">
              <a:defRPr/>
            </a:pPr>
            <a:endParaRPr lang="en-US" sz="200" kern="0" dirty="0">
              <a:solidFill>
                <a:srgbClr val="000000"/>
              </a:solidFill>
              <a:latin typeface="Calibri" panose="020F0502020204030204"/>
              <a:cs typeface="Calibri" panose="020F0502020204030204" pitchFamily="34" charset="0"/>
            </a:endParaRPr>
          </a:p>
          <a:p>
            <a:pPr algn="ctr" defTabSz="685800">
              <a:defRPr/>
            </a:pPr>
            <a:r>
              <a:rPr lang="en-US" sz="800" kern="0" dirty="0">
                <a:solidFill>
                  <a:srgbClr val="000000"/>
                </a:solidFill>
                <a:latin typeface="Calibri" panose="020F0502020204030204"/>
                <a:cs typeface="Calibri" panose="020F0502020204030204" pitchFamily="34" charset="0"/>
              </a:rPr>
              <a:t>Even though instruments such as Checks are still the most common method of Payment (51% of organizations make B2B payments through Checks), adoption of Lockbox services is still significantly low (only 18% for Middle Market).</a:t>
            </a:r>
            <a:endParaRPr lang="en-US" sz="800" kern="0" baseline="30000" dirty="0">
              <a:solidFill>
                <a:srgbClr val="000000"/>
              </a:solidFill>
              <a:latin typeface="Calibri" panose="020F0502020204030204"/>
              <a:cs typeface="Calibri" panose="020F0502020204030204" pitchFamily="34" charset="0"/>
            </a:endParaRPr>
          </a:p>
          <a:p>
            <a:pPr algn="ctr" defTabSz="685800">
              <a:defRPr/>
            </a:pPr>
            <a:endParaRPr lang="en-US" sz="800" b="1" kern="0" dirty="0">
              <a:solidFill>
                <a:srgbClr val="00338D"/>
              </a:solidFill>
              <a:latin typeface="Calibri" panose="020F0502020204030204"/>
              <a:cs typeface="Calibri" panose="020F0502020204030204" pitchFamily="34" charset="0"/>
            </a:endParaRPr>
          </a:p>
        </p:txBody>
      </p:sp>
      <p:sp>
        <p:nvSpPr>
          <p:cNvPr id="7" name="Rectangle 6"/>
          <p:cNvSpPr/>
          <p:nvPr/>
        </p:nvSpPr>
        <p:spPr>
          <a:xfrm>
            <a:off x="343142" y="2490206"/>
            <a:ext cx="1988820" cy="1234440"/>
          </a:xfrm>
          <a:prstGeom prst="rect">
            <a:avLst/>
          </a:prstGeom>
          <a:solidFill>
            <a:sysClr val="window" lastClr="FFFFFF">
              <a:lumMod val="95000"/>
            </a:sysClr>
          </a:solidFill>
          <a:ln w="19050" cap="flat" cmpd="sng" algn="ctr">
            <a:solidFill>
              <a:sysClr val="window" lastClr="FFFFFF">
                <a:lumMod val="65000"/>
              </a:sysClr>
            </a:solidFill>
            <a:prstDash val="solid"/>
          </a:ln>
          <a:effectLst/>
        </p:spPr>
        <p:txBody>
          <a:bodyPr lIns="41148" tIns="40958" rIns="40958" bIns="40958" rtlCol="0" anchor="t"/>
          <a:lstStyle/>
          <a:p>
            <a:pPr algn="ctr" defTabSz="685800">
              <a:defRPr/>
            </a:pPr>
            <a:r>
              <a:rPr lang="en-US" sz="1050" b="1" kern="0" dirty="0">
                <a:solidFill>
                  <a:srgbClr val="00338D"/>
                </a:solidFill>
                <a:latin typeface="Calibri" panose="020F0502020204030204"/>
                <a:cs typeface="Calibri" panose="020F0502020204030204" pitchFamily="34" charset="0"/>
              </a:rPr>
              <a:t>Costly B2B </a:t>
            </a:r>
          </a:p>
          <a:p>
            <a:pPr algn="ctr" defTabSz="685800">
              <a:defRPr/>
            </a:pPr>
            <a:r>
              <a:rPr lang="en-US" sz="1050" b="1" kern="0" dirty="0">
                <a:solidFill>
                  <a:srgbClr val="00338D"/>
                </a:solidFill>
                <a:latin typeface="Calibri" panose="020F0502020204030204"/>
                <a:cs typeface="Calibri" panose="020F0502020204030204" pitchFamily="34" charset="0"/>
              </a:rPr>
              <a:t>Solution Options</a:t>
            </a:r>
          </a:p>
          <a:p>
            <a:pPr algn="ctr" defTabSz="685800">
              <a:spcAft>
                <a:spcPts val="450"/>
              </a:spcAft>
              <a:defRPr/>
            </a:pPr>
            <a:endParaRPr lang="en-US" sz="200" kern="0" dirty="0">
              <a:solidFill>
                <a:srgbClr val="000000"/>
              </a:solidFill>
              <a:latin typeface="Calibri" panose="020F0502020204030204"/>
              <a:cs typeface="Calibri" panose="020F0502020204030204" pitchFamily="34" charset="0"/>
            </a:endParaRPr>
          </a:p>
          <a:p>
            <a:pPr algn="ctr" defTabSz="685800">
              <a:spcAft>
                <a:spcPts val="450"/>
              </a:spcAft>
              <a:defRPr/>
            </a:pPr>
            <a:r>
              <a:rPr lang="en-US" sz="800" kern="0" dirty="0">
                <a:solidFill>
                  <a:srgbClr val="000000"/>
                </a:solidFill>
                <a:latin typeface="Calibri" panose="020F0502020204030204"/>
                <a:cs typeface="Calibri" panose="020F0502020204030204" pitchFamily="34" charset="0"/>
              </a:rPr>
              <a:t>Existing solutions can be expensive and/or require lengthy implementations to integrate Buyers and Suppliers, leading corporates to continue to rely on checks and lockbox services. </a:t>
            </a:r>
            <a:endParaRPr lang="en-US" sz="900" kern="0" dirty="0">
              <a:solidFill>
                <a:srgbClr val="000000"/>
              </a:solidFill>
              <a:latin typeface="Calibri" panose="020F0502020204030204"/>
              <a:cs typeface="Calibri" panose="020F0502020204030204" pitchFamily="34" charset="0"/>
            </a:endParaRPr>
          </a:p>
        </p:txBody>
      </p:sp>
      <p:sp>
        <p:nvSpPr>
          <p:cNvPr id="8" name="Rectangle 7"/>
          <p:cNvSpPr/>
          <p:nvPr/>
        </p:nvSpPr>
        <p:spPr>
          <a:xfrm>
            <a:off x="2497920" y="2490206"/>
            <a:ext cx="1988820" cy="1234440"/>
          </a:xfrm>
          <a:prstGeom prst="rect">
            <a:avLst/>
          </a:prstGeom>
          <a:solidFill>
            <a:sysClr val="window" lastClr="FFFFFF">
              <a:lumMod val="95000"/>
            </a:sysClr>
          </a:solidFill>
          <a:ln w="19050" cap="flat" cmpd="sng" algn="ctr">
            <a:solidFill>
              <a:sysClr val="window" lastClr="FFFFFF">
                <a:lumMod val="65000"/>
              </a:sysClr>
            </a:solidFill>
            <a:prstDash val="solid"/>
          </a:ln>
          <a:effectLst/>
        </p:spPr>
        <p:txBody>
          <a:bodyPr lIns="41148" tIns="40958" rIns="40958" bIns="40958" rtlCol="0" anchor="t"/>
          <a:lstStyle/>
          <a:p>
            <a:pPr algn="ctr" defTabSz="685800">
              <a:defRPr/>
            </a:pPr>
            <a:r>
              <a:rPr lang="en-US" sz="1050" b="1" kern="0" dirty="0">
                <a:solidFill>
                  <a:srgbClr val="00338D"/>
                </a:solidFill>
                <a:latin typeface="Calibri" panose="020F0502020204030204"/>
                <a:cs typeface="Calibri" panose="020F0502020204030204" pitchFamily="34" charset="0"/>
              </a:rPr>
              <a:t>Late Payments due to </a:t>
            </a:r>
            <a:endParaRPr lang="en-US" sz="1050" b="1" kern="0" dirty="0" smtClean="0">
              <a:solidFill>
                <a:srgbClr val="00338D"/>
              </a:solidFill>
              <a:latin typeface="Calibri" panose="020F0502020204030204"/>
              <a:cs typeface="Calibri" panose="020F0502020204030204" pitchFamily="34" charset="0"/>
            </a:endParaRPr>
          </a:p>
          <a:p>
            <a:pPr algn="ctr" defTabSz="685800">
              <a:defRPr/>
            </a:pPr>
            <a:r>
              <a:rPr lang="en-US" sz="1050" b="1" kern="0" dirty="0" smtClean="0">
                <a:solidFill>
                  <a:srgbClr val="00338D"/>
                </a:solidFill>
                <a:latin typeface="Calibri" panose="020F0502020204030204"/>
                <a:cs typeface="Calibri" panose="020F0502020204030204" pitchFamily="34" charset="0"/>
              </a:rPr>
              <a:t>Limited Working </a:t>
            </a:r>
            <a:r>
              <a:rPr lang="en-US" sz="1050" b="1" kern="0" dirty="0">
                <a:solidFill>
                  <a:srgbClr val="00338D"/>
                </a:solidFill>
                <a:latin typeface="Calibri" panose="020F0502020204030204"/>
                <a:cs typeface="Calibri" panose="020F0502020204030204" pitchFamily="34" charset="0"/>
              </a:rPr>
              <a:t>Capital </a:t>
            </a:r>
          </a:p>
          <a:p>
            <a:pPr marL="0" lvl="1" algn="ctr" defTabSz="685800">
              <a:defRPr/>
            </a:pPr>
            <a:endParaRPr lang="en-US" sz="200" kern="0" dirty="0">
              <a:solidFill>
                <a:srgbClr val="000000"/>
              </a:solidFill>
              <a:latin typeface="Calibri" panose="020F0502020204030204"/>
              <a:cs typeface="Calibri" panose="020F0502020204030204" pitchFamily="34" charset="0"/>
            </a:endParaRPr>
          </a:p>
          <a:p>
            <a:pPr marL="0" lvl="1" algn="ctr" defTabSz="685800">
              <a:defRPr/>
            </a:pPr>
            <a:r>
              <a:rPr lang="en-US" sz="800" kern="0" dirty="0">
                <a:solidFill>
                  <a:srgbClr val="000000"/>
                </a:solidFill>
                <a:latin typeface="Calibri" panose="020F0502020204030204"/>
                <a:cs typeface="Calibri" panose="020F0502020204030204" pitchFamily="34" charset="0"/>
              </a:rPr>
              <a:t>Around 47% of Suppliers report being paid late for products and services primarily due to customer liquidity constraints, according to Atradius Payments Practice Barometer.</a:t>
            </a:r>
            <a:r>
              <a:rPr lang="en-US" sz="800" kern="0" baseline="30000" dirty="0">
                <a:solidFill>
                  <a:srgbClr val="000000"/>
                </a:solidFill>
                <a:latin typeface="Calibri" panose="020F0502020204030204"/>
                <a:cs typeface="Calibri" panose="020F0502020204030204" pitchFamily="34" charset="0"/>
              </a:rPr>
              <a:t>3</a:t>
            </a:r>
            <a:r>
              <a:rPr lang="en-US" sz="800" kern="0" dirty="0">
                <a:solidFill>
                  <a:srgbClr val="000000"/>
                </a:solidFill>
                <a:latin typeface="Calibri" panose="020F0502020204030204"/>
                <a:cs typeface="Calibri" panose="020F0502020204030204" pitchFamily="34" charset="0"/>
              </a:rPr>
              <a:t> </a:t>
            </a:r>
          </a:p>
          <a:p>
            <a:pPr marL="0" lvl="1" algn="ctr" defTabSz="685800">
              <a:defRPr/>
            </a:pPr>
            <a:endParaRPr lang="en-US" sz="800" kern="0" dirty="0">
              <a:solidFill>
                <a:srgbClr val="FF0000"/>
              </a:solidFill>
              <a:latin typeface="Calibri" panose="020F0502020204030204"/>
              <a:cs typeface="Calibri" panose="020F0502020204030204" pitchFamily="34" charset="0"/>
            </a:endParaRPr>
          </a:p>
          <a:p>
            <a:pPr algn="ctr" defTabSz="685800">
              <a:defRPr/>
            </a:pPr>
            <a:endParaRPr lang="en-US" sz="800" b="1" kern="0" dirty="0">
              <a:solidFill>
                <a:srgbClr val="00338D"/>
              </a:solidFill>
              <a:latin typeface="Calibri" panose="020F0502020204030204"/>
              <a:cs typeface="Calibri" panose="020F0502020204030204" pitchFamily="34" charset="0"/>
            </a:endParaRPr>
          </a:p>
        </p:txBody>
      </p:sp>
      <p:sp>
        <p:nvSpPr>
          <p:cNvPr id="9" name="Rectangle 8"/>
          <p:cNvSpPr/>
          <p:nvPr/>
        </p:nvSpPr>
        <p:spPr>
          <a:xfrm>
            <a:off x="4652698" y="2490206"/>
            <a:ext cx="1988820" cy="1234440"/>
          </a:xfrm>
          <a:prstGeom prst="rect">
            <a:avLst/>
          </a:prstGeom>
          <a:solidFill>
            <a:sysClr val="window" lastClr="FFFFFF">
              <a:lumMod val="95000"/>
            </a:sysClr>
          </a:solidFill>
          <a:ln w="19050" cap="flat" cmpd="sng" algn="ctr">
            <a:solidFill>
              <a:sysClr val="window" lastClr="FFFFFF">
                <a:lumMod val="65000"/>
              </a:sysClr>
            </a:solidFill>
            <a:prstDash val="solid"/>
          </a:ln>
          <a:effectLst/>
        </p:spPr>
        <p:txBody>
          <a:bodyPr lIns="41148" tIns="40958" rIns="40958" bIns="40958" rtlCol="0" anchor="t"/>
          <a:lstStyle/>
          <a:p>
            <a:pPr algn="ctr" defTabSz="685800">
              <a:defRPr/>
            </a:pPr>
            <a:r>
              <a:rPr lang="en-US" sz="1050" b="1" kern="0" dirty="0">
                <a:solidFill>
                  <a:srgbClr val="00338D"/>
                </a:solidFill>
                <a:latin typeface="Calibri" panose="020F0502020204030204"/>
                <a:cs typeface="Calibri" panose="020F0502020204030204" pitchFamily="34" charset="0"/>
              </a:rPr>
              <a:t>Lack of Visibility into </a:t>
            </a:r>
            <a:endParaRPr lang="en-US" sz="1050" b="1" kern="0" dirty="0" smtClean="0">
              <a:solidFill>
                <a:srgbClr val="00338D"/>
              </a:solidFill>
              <a:latin typeface="Calibri" panose="020F0502020204030204"/>
              <a:cs typeface="Calibri" panose="020F0502020204030204" pitchFamily="34" charset="0"/>
            </a:endParaRPr>
          </a:p>
          <a:p>
            <a:pPr algn="ctr" defTabSz="685800">
              <a:defRPr/>
            </a:pPr>
            <a:r>
              <a:rPr lang="en-US" sz="1050" b="1" kern="0" dirty="0" smtClean="0">
                <a:solidFill>
                  <a:srgbClr val="00338D"/>
                </a:solidFill>
                <a:latin typeface="Calibri" panose="020F0502020204030204"/>
                <a:cs typeface="Calibri" panose="020F0502020204030204" pitchFamily="34" charset="0"/>
              </a:rPr>
              <a:t>Financial Supply </a:t>
            </a:r>
            <a:r>
              <a:rPr lang="en-US" sz="1050" b="1" kern="0" dirty="0">
                <a:solidFill>
                  <a:srgbClr val="00338D"/>
                </a:solidFill>
                <a:latin typeface="Calibri" panose="020F0502020204030204"/>
                <a:cs typeface="Calibri" panose="020F0502020204030204" pitchFamily="34" charset="0"/>
              </a:rPr>
              <a:t>Chain </a:t>
            </a:r>
          </a:p>
          <a:p>
            <a:pPr algn="ctr" defTabSz="685800">
              <a:defRPr/>
            </a:pPr>
            <a:endParaRPr lang="en-US" sz="200" kern="0" dirty="0">
              <a:solidFill>
                <a:srgbClr val="000000"/>
              </a:solidFill>
              <a:latin typeface="Calibri" panose="020F0502020204030204"/>
              <a:cs typeface="Calibri" panose="020F0502020204030204" pitchFamily="34" charset="0"/>
            </a:endParaRPr>
          </a:p>
          <a:p>
            <a:pPr algn="ctr" defTabSz="685800">
              <a:defRPr/>
            </a:pPr>
            <a:r>
              <a:rPr lang="en-US" sz="800" kern="0" dirty="0">
                <a:solidFill>
                  <a:srgbClr val="000000"/>
                </a:solidFill>
                <a:latin typeface="Calibri" panose="020F0502020204030204"/>
                <a:cs typeface="Calibri" panose="020F0502020204030204" pitchFamily="34" charset="0"/>
              </a:rPr>
              <a:t>A lack of information transparency exists within the Financial Supply Chain, limiting opportunities for both dynamic discounting to be provided to Buyers and for FIs to offer advisory services to their corporate clients. </a:t>
            </a:r>
            <a:endParaRPr lang="en-US" sz="1100" b="1" kern="0" dirty="0">
              <a:solidFill>
                <a:srgbClr val="FF0000"/>
              </a:solidFill>
              <a:latin typeface="Calibri" panose="020F0502020204030204"/>
              <a:cs typeface="Calibri" panose="020F0502020204030204" pitchFamily="34" charset="0"/>
            </a:endParaRPr>
          </a:p>
        </p:txBody>
      </p:sp>
      <p:sp>
        <p:nvSpPr>
          <p:cNvPr id="40" name="Oval 267"/>
          <p:cNvSpPr>
            <a:spLocks noChangeArrowheads="1"/>
          </p:cNvSpPr>
          <p:nvPr/>
        </p:nvSpPr>
        <p:spPr bwMode="auto">
          <a:xfrm>
            <a:off x="310483" y="2457546"/>
            <a:ext cx="205740" cy="205740"/>
          </a:xfrm>
          <a:prstGeom prst="ellipse">
            <a:avLst/>
          </a:prstGeom>
          <a:solidFill>
            <a:srgbClr val="0091DA"/>
          </a:solidFill>
          <a:ln w="19050">
            <a:solidFill>
              <a:srgbClr val="00338D"/>
            </a:solidFill>
            <a:round/>
            <a:headEnd/>
            <a:tailEnd/>
          </a:ln>
        </p:spPr>
        <p:txBody>
          <a:bodyPr vert="horz" wrap="square" lIns="0" tIns="0" rIns="0" bIns="0" numCol="1" anchor="ctr" anchorCtr="0" compatLnSpc="1">
            <a:prstTxWarp prst="textNoShape">
              <a:avLst/>
            </a:prstTxWarp>
          </a:bodyPr>
          <a:lstStyle/>
          <a:p>
            <a:pPr algn="ctr" defTabSz="502862"/>
            <a:r>
              <a:rPr lang="en-GB" sz="900" b="1" dirty="0">
                <a:solidFill>
                  <a:prstClr val="white"/>
                </a:solidFill>
                <a:latin typeface="Calibri" panose="020F0502020204030204"/>
                <a:cs typeface="Calibri" panose="020F0502020204030204" pitchFamily="34" charset="0"/>
              </a:rPr>
              <a:t>5</a:t>
            </a:r>
          </a:p>
        </p:txBody>
      </p:sp>
      <p:sp>
        <p:nvSpPr>
          <p:cNvPr id="41" name="Oval 267"/>
          <p:cNvSpPr>
            <a:spLocks noChangeArrowheads="1"/>
          </p:cNvSpPr>
          <p:nvPr/>
        </p:nvSpPr>
        <p:spPr bwMode="auto">
          <a:xfrm>
            <a:off x="2463551" y="2457546"/>
            <a:ext cx="205740" cy="205740"/>
          </a:xfrm>
          <a:prstGeom prst="ellipse">
            <a:avLst/>
          </a:prstGeom>
          <a:solidFill>
            <a:srgbClr val="0091DA"/>
          </a:solidFill>
          <a:ln w="19050">
            <a:solidFill>
              <a:srgbClr val="00338D"/>
            </a:solidFill>
            <a:round/>
            <a:headEnd/>
            <a:tailEnd/>
          </a:ln>
        </p:spPr>
        <p:txBody>
          <a:bodyPr vert="horz" wrap="square" lIns="0" tIns="0" rIns="0" bIns="0" numCol="1" anchor="ctr" anchorCtr="0" compatLnSpc="1">
            <a:prstTxWarp prst="textNoShape">
              <a:avLst/>
            </a:prstTxWarp>
          </a:bodyPr>
          <a:lstStyle/>
          <a:p>
            <a:pPr algn="ctr" defTabSz="502862"/>
            <a:r>
              <a:rPr lang="en-GB" sz="900" b="1" dirty="0">
                <a:solidFill>
                  <a:prstClr val="white"/>
                </a:solidFill>
                <a:latin typeface="Calibri" panose="020F0502020204030204"/>
                <a:cs typeface="Calibri" panose="020F0502020204030204" pitchFamily="34" charset="0"/>
              </a:rPr>
              <a:t>6</a:t>
            </a:r>
          </a:p>
        </p:txBody>
      </p:sp>
      <p:sp>
        <p:nvSpPr>
          <p:cNvPr id="109" name="Oval 267"/>
          <p:cNvSpPr>
            <a:spLocks noChangeArrowheads="1"/>
          </p:cNvSpPr>
          <p:nvPr/>
        </p:nvSpPr>
        <p:spPr bwMode="auto">
          <a:xfrm>
            <a:off x="4620038" y="2457546"/>
            <a:ext cx="205740" cy="205740"/>
          </a:xfrm>
          <a:prstGeom prst="ellipse">
            <a:avLst/>
          </a:prstGeom>
          <a:solidFill>
            <a:srgbClr val="0091DA"/>
          </a:solidFill>
          <a:ln w="19050">
            <a:solidFill>
              <a:srgbClr val="00338D"/>
            </a:solidFill>
            <a:round/>
            <a:headEnd/>
            <a:tailEnd/>
          </a:ln>
        </p:spPr>
        <p:txBody>
          <a:bodyPr vert="horz" wrap="square" lIns="0" tIns="0" rIns="0" bIns="0" numCol="1" anchor="ctr" anchorCtr="0" compatLnSpc="1">
            <a:prstTxWarp prst="textNoShape">
              <a:avLst/>
            </a:prstTxWarp>
          </a:bodyPr>
          <a:lstStyle/>
          <a:p>
            <a:pPr algn="ctr" defTabSz="502862"/>
            <a:r>
              <a:rPr lang="en-GB" sz="900" b="1" dirty="0">
                <a:solidFill>
                  <a:prstClr val="white"/>
                </a:solidFill>
                <a:latin typeface="Calibri" panose="020F0502020204030204"/>
                <a:cs typeface="Calibri" panose="020F0502020204030204" pitchFamily="34" charset="0"/>
              </a:rPr>
              <a:t>7</a:t>
            </a:r>
          </a:p>
        </p:txBody>
      </p:sp>
      <p:sp>
        <p:nvSpPr>
          <p:cNvPr id="111" name="Oval 267"/>
          <p:cNvSpPr>
            <a:spLocks noChangeArrowheads="1"/>
          </p:cNvSpPr>
          <p:nvPr/>
        </p:nvSpPr>
        <p:spPr bwMode="auto">
          <a:xfrm>
            <a:off x="6774816" y="2457546"/>
            <a:ext cx="205740" cy="205740"/>
          </a:xfrm>
          <a:prstGeom prst="ellipse">
            <a:avLst/>
          </a:prstGeom>
          <a:solidFill>
            <a:srgbClr val="0091DA"/>
          </a:solidFill>
          <a:ln w="19050">
            <a:solidFill>
              <a:srgbClr val="00338D"/>
            </a:solidFill>
            <a:round/>
            <a:headEnd/>
            <a:tailEnd/>
          </a:ln>
        </p:spPr>
        <p:txBody>
          <a:bodyPr vert="horz" wrap="square" lIns="0" tIns="0" rIns="0" bIns="0" numCol="1" anchor="ctr" anchorCtr="0" compatLnSpc="1">
            <a:prstTxWarp prst="textNoShape">
              <a:avLst/>
            </a:prstTxWarp>
          </a:bodyPr>
          <a:lstStyle/>
          <a:p>
            <a:pPr algn="ctr" defTabSz="502862"/>
            <a:r>
              <a:rPr lang="en-GB" sz="900" b="1" dirty="0">
                <a:solidFill>
                  <a:prstClr val="white"/>
                </a:solidFill>
                <a:latin typeface="Calibri" panose="020F0502020204030204"/>
                <a:cs typeface="Calibri" panose="020F0502020204030204" pitchFamily="34" charset="0"/>
              </a:rPr>
              <a:t>8</a:t>
            </a:r>
          </a:p>
        </p:txBody>
      </p:sp>
      <p:sp>
        <p:nvSpPr>
          <p:cNvPr id="118" name="Isosceles Triangle 117"/>
          <p:cNvSpPr/>
          <p:nvPr/>
        </p:nvSpPr>
        <p:spPr>
          <a:xfrm flipV="1">
            <a:off x="1289182" y="3821092"/>
            <a:ext cx="6629375" cy="238401"/>
          </a:xfrm>
          <a:prstGeom prst="triangle">
            <a:avLst/>
          </a:prstGeom>
          <a:solidFill>
            <a:srgbClr val="003F72">
              <a:lumMod val="20000"/>
              <a:lumOff val="80000"/>
            </a:srgbClr>
          </a:solidFill>
          <a:ln w="25400" cap="flat" cmpd="sng" algn="ctr">
            <a:noFill/>
            <a:prstDash val="solid"/>
          </a:ln>
          <a:effectLst/>
        </p:spPr>
        <p:txBody>
          <a:bodyPr lIns="40958" tIns="40958" rIns="40958" bIns="40958" rtlCol="0" anchor="ctr"/>
          <a:lstStyle/>
          <a:p>
            <a:pPr defTabSz="685800">
              <a:defRPr/>
            </a:pPr>
            <a:endParaRPr lang="en-US" sz="1100" kern="0" dirty="0">
              <a:solidFill>
                <a:prstClr val="white"/>
              </a:solidFill>
              <a:latin typeface="Calibri" panose="020F0502020204030204"/>
            </a:endParaRPr>
          </a:p>
        </p:txBody>
      </p:sp>
      <p:sp>
        <p:nvSpPr>
          <p:cNvPr id="119" name="Rectangle 118"/>
          <p:cNvSpPr/>
          <p:nvPr/>
        </p:nvSpPr>
        <p:spPr>
          <a:xfrm>
            <a:off x="516224" y="4217527"/>
            <a:ext cx="8142002" cy="625941"/>
          </a:xfrm>
          <a:prstGeom prst="rect">
            <a:avLst/>
          </a:prstGeom>
          <a:solidFill>
            <a:sysClr val="window" lastClr="FFFFFF"/>
          </a:solidFill>
          <a:ln w="19050" cap="flat" cmpd="sng" algn="ctr">
            <a:solidFill>
              <a:srgbClr val="00338D"/>
            </a:solidFill>
            <a:prstDash val="solid"/>
          </a:ln>
          <a:effectLst/>
        </p:spPr>
        <p:txBody>
          <a:bodyPr lIns="137160" tIns="68580" rIns="137160" bIns="68580" rtlCol="0" anchor="ctr"/>
          <a:lstStyle/>
          <a:p>
            <a:pPr defTabSz="342900"/>
            <a:r>
              <a:rPr lang="en-US" sz="1200" dirty="0">
                <a:solidFill>
                  <a:srgbClr val="00338D"/>
                </a:solidFill>
                <a:latin typeface="Calibri" panose="020F0502020204030204" pitchFamily="34" charset="0"/>
              </a:rPr>
              <a:t>The existing B2B solution options available in the market are highly fragmented with poor connectivity between existing networks resulting in limited reach, inefficient processing, costly manual interventions and inability to achieve electronification and straight through processing.</a:t>
            </a:r>
          </a:p>
        </p:txBody>
      </p:sp>
      <p:sp>
        <p:nvSpPr>
          <p:cNvPr id="120" name="Rectangle 119"/>
          <p:cNvSpPr/>
          <p:nvPr/>
        </p:nvSpPr>
        <p:spPr>
          <a:xfrm>
            <a:off x="3939933" y="4152621"/>
            <a:ext cx="1327876" cy="141423"/>
          </a:xfrm>
          <a:prstGeom prst="rect">
            <a:avLst/>
          </a:prstGeom>
          <a:solidFill>
            <a:sysClr val="window" lastClr="FFFFFF"/>
          </a:solidFill>
          <a:ln w="25400" cap="flat" cmpd="sng" algn="ctr">
            <a:noFill/>
            <a:prstDash val="solid"/>
          </a:ln>
          <a:effectLst/>
        </p:spPr>
        <p:txBody>
          <a:bodyPr lIns="40958" tIns="40958" rIns="40958" bIns="40958" rtlCol="0" anchor="ctr"/>
          <a:lstStyle/>
          <a:p>
            <a:pPr algn="ctr" defTabSz="685800">
              <a:defRPr/>
            </a:pPr>
            <a:r>
              <a:rPr lang="en-US" sz="1200" b="1" kern="0" dirty="0">
                <a:solidFill>
                  <a:srgbClr val="00338D"/>
                </a:solidFill>
                <a:latin typeface="Calibri" panose="020F0502020204030204"/>
                <a:cs typeface="Calibri" panose="020F0502020204030204" pitchFamily="34" charset="0"/>
              </a:rPr>
              <a:t>Problem Statement</a:t>
            </a:r>
          </a:p>
        </p:txBody>
      </p:sp>
    </p:spTree>
    <p:extLst>
      <p:ext uri="{BB962C8B-B14F-4D97-AF65-F5344CB8AC3E}">
        <p14:creationId xmlns:p14="http://schemas.microsoft.com/office/powerpoint/2010/main" val="1099100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2017 saw the birth of a modern new core payment system in the US</a:t>
            </a:r>
            <a:endParaRPr lang="en-US" dirty="0"/>
          </a:p>
        </p:txBody>
      </p:sp>
      <p:pic>
        <p:nvPicPr>
          <p:cNvPr id="6" name="Picture 2" descr="C:\Users\chip.savidge\Desktop\2017 RTP\EXECUTIVE FORUM\Graphics\TCH223_RTP_Logo_final_tag_RGB_08271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0008" y="1461302"/>
            <a:ext cx="4865136" cy="2703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22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hape 151"/>
          <p:cNvSpPr/>
          <p:nvPr/>
        </p:nvSpPr>
        <p:spPr>
          <a:xfrm>
            <a:off x="1988941" y="2794745"/>
            <a:ext cx="5544467" cy="338717"/>
          </a:xfrm>
          <a:prstGeom prst="rect">
            <a:avLst/>
          </a:prstGeom>
          <a:solidFill>
            <a:srgbClr val="FFFFFF"/>
          </a:solidFill>
          <a:ln w="12700">
            <a:miter lim="400000"/>
          </a:ln>
        </p:spPr>
        <p:txBody>
          <a:bodyPr lIns="34289" tIns="34290" rIns="34289" bIns="34290" anchor="ctr"/>
          <a:lstStyle/>
          <a:p>
            <a:pPr>
              <a:defRPr>
                <a:solidFill>
                  <a:srgbClr val="FFFFFF"/>
                </a:solidFill>
              </a:defRPr>
            </a:pPr>
            <a:endParaRPr/>
          </a:p>
        </p:txBody>
      </p:sp>
      <p:sp>
        <p:nvSpPr>
          <p:cNvPr id="17" name="Shape 172"/>
          <p:cNvSpPr/>
          <p:nvPr/>
        </p:nvSpPr>
        <p:spPr>
          <a:xfrm>
            <a:off x="1986441" y="3028742"/>
            <a:ext cx="5240335" cy="1"/>
          </a:xfrm>
          <a:prstGeom prst="line">
            <a:avLst/>
          </a:prstGeom>
          <a:ln w="25400">
            <a:solidFill>
              <a:srgbClr val="5F316A"/>
            </a:solidFill>
            <a:custDash>
              <a:ds d="200000" sp="200000"/>
            </a:custDash>
            <a:miter lim="400000"/>
          </a:ln>
        </p:spPr>
        <p:txBody>
          <a:bodyPr lIns="34289" tIns="34290" rIns="34289" bIns="34290"/>
          <a:lstStyle/>
          <a:p>
            <a:endParaRPr/>
          </a:p>
        </p:txBody>
      </p:sp>
      <p:sp>
        <p:nvSpPr>
          <p:cNvPr id="16" name="Shape 171"/>
          <p:cNvSpPr/>
          <p:nvPr/>
        </p:nvSpPr>
        <p:spPr>
          <a:xfrm>
            <a:off x="1988940" y="2876342"/>
            <a:ext cx="5240335" cy="1"/>
          </a:xfrm>
          <a:prstGeom prst="line">
            <a:avLst/>
          </a:prstGeom>
          <a:ln w="25400">
            <a:solidFill>
              <a:srgbClr val="5F316A"/>
            </a:solidFill>
            <a:custDash>
              <a:ds d="200000" sp="200000"/>
            </a:custDash>
            <a:miter lim="400000"/>
          </a:ln>
        </p:spPr>
        <p:txBody>
          <a:bodyPr lIns="34289" tIns="34290" rIns="34289" bIns="34290"/>
          <a:lstStyle/>
          <a:p>
            <a:endParaRPr/>
          </a:p>
        </p:txBody>
      </p:sp>
      <p:pic>
        <p:nvPicPr>
          <p:cNvPr id="10" name="Screenshot 2018-04-24 22.05.47.png"/>
          <p:cNvPicPr>
            <a:picLocks noChangeAspect="1"/>
          </p:cNvPicPr>
          <p:nvPr/>
        </p:nvPicPr>
        <p:blipFill>
          <a:blip r:embed="rId2">
            <a:extLst/>
          </a:blip>
          <a:srcRect l="83353" t="17147" r="12836" b="74641"/>
          <a:stretch>
            <a:fillRect/>
          </a:stretch>
        </p:blipFill>
        <p:spPr>
          <a:xfrm>
            <a:off x="7371511" y="1149254"/>
            <a:ext cx="420590" cy="566441"/>
          </a:xfrm>
          <a:custGeom>
            <a:avLst/>
            <a:gdLst/>
            <a:ahLst/>
            <a:cxnLst>
              <a:cxn ang="0">
                <a:pos x="wd2" y="hd2"/>
              </a:cxn>
              <a:cxn ang="5400000">
                <a:pos x="wd2" y="hd2"/>
              </a:cxn>
              <a:cxn ang="10800000">
                <a:pos x="wd2" y="hd2"/>
              </a:cxn>
              <a:cxn ang="16200000">
                <a:pos x="wd2" y="hd2"/>
              </a:cxn>
            </a:cxnLst>
            <a:rect l="0" t="0" r="r" b="b"/>
            <a:pathLst>
              <a:path w="21600" h="21600" extrusionOk="0">
                <a:moveTo>
                  <a:pt x="138" y="0"/>
                </a:moveTo>
                <a:lnTo>
                  <a:pt x="0" y="12610"/>
                </a:lnTo>
                <a:lnTo>
                  <a:pt x="10746" y="21600"/>
                </a:lnTo>
                <a:lnTo>
                  <a:pt x="21600" y="12554"/>
                </a:lnTo>
                <a:lnTo>
                  <a:pt x="21462" y="34"/>
                </a:lnTo>
                <a:lnTo>
                  <a:pt x="138" y="0"/>
                </a:lnTo>
                <a:close/>
              </a:path>
            </a:pathLst>
          </a:custGeom>
          <a:ln w="12700">
            <a:miter lim="400000"/>
          </a:ln>
        </p:spPr>
      </p:pic>
      <p:sp>
        <p:nvSpPr>
          <p:cNvPr id="12" name="Shape 152"/>
          <p:cNvSpPr/>
          <p:nvPr/>
        </p:nvSpPr>
        <p:spPr>
          <a:xfrm>
            <a:off x="2043351" y="1606843"/>
            <a:ext cx="352377" cy="484025"/>
          </a:xfrm>
          <a:custGeom>
            <a:avLst/>
            <a:gdLst/>
            <a:ahLst/>
            <a:cxnLst>
              <a:cxn ang="0">
                <a:pos x="wd2" y="hd2"/>
              </a:cxn>
              <a:cxn ang="5400000">
                <a:pos x="wd2" y="hd2"/>
              </a:cxn>
              <a:cxn ang="10800000">
                <a:pos x="wd2" y="hd2"/>
              </a:cxn>
              <a:cxn ang="16200000">
                <a:pos x="wd2" y="hd2"/>
              </a:cxn>
            </a:cxnLst>
            <a:rect l="0" t="0" r="r" b="b"/>
            <a:pathLst>
              <a:path w="21600" h="21600" extrusionOk="0">
                <a:moveTo>
                  <a:pt x="48" y="18"/>
                </a:moveTo>
                <a:lnTo>
                  <a:pt x="0" y="12475"/>
                </a:lnTo>
                <a:lnTo>
                  <a:pt x="10815" y="21600"/>
                </a:lnTo>
                <a:lnTo>
                  <a:pt x="21600" y="12519"/>
                </a:lnTo>
                <a:lnTo>
                  <a:pt x="21486" y="0"/>
                </a:lnTo>
                <a:lnTo>
                  <a:pt x="48" y="18"/>
                </a:lnTo>
                <a:close/>
              </a:path>
            </a:pathLst>
          </a:custGeom>
          <a:ln w="25400">
            <a:solidFill>
              <a:srgbClr val="5A2E64"/>
            </a:solidFill>
            <a:miter/>
          </a:ln>
        </p:spPr>
        <p:txBody>
          <a:bodyPr lIns="34289" tIns="34290" rIns="34289" bIns="34290"/>
          <a:lstStyle/>
          <a:p>
            <a:endParaRPr/>
          </a:p>
        </p:txBody>
      </p:sp>
      <p:pic>
        <p:nvPicPr>
          <p:cNvPr id="13" name="Screenshot 2018-04-24 22.05.47.png"/>
          <p:cNvPicPr>
            <a:picLocks noChangeAspect="1"/>
          </p:cNvPicPr>
          <p:nvPr/>
        </p:nvPicPr>
        <p:blipFill>
          <a:blip r:embed="rId2">
            <a:extLst/>
          </a:blip>
          <a:srcRect l="83353" t="17147" r="12836" b="74641"/>
          <a:stretch>
            <a:fillRect/>
          </a:stretch>
        </p:blipFill>
        <p:spPr>
          <a:xfrm>
            <a:off x="2014375" y="1564169"/>
            <a:ext cx="420590" cy="566441"/>
          </a:xfrm>
          <a:custGeom>
            <a:avLst/>
            <a:gdLst/>
            <a:ahLst/>
            <a:cxnLst>
              <a:cxn ang="0">
                <a:pos x="wd2" y="hd2"/>
              </a:cxn>
              <a:cxn ang="5400000">
                <a:pos x="wd2" y="hd2"/>
              </a:cxn>
              <a:cxn ang="10800000">
                <a:pos x="wd2" y="hd2"/>
              </a:cxn>
              <a:cxn ang="16200000">
                <a:pos x="wd2" y="hd2"/>
              </a:cxn>
            </a:cxnLst>
            <a:rect l="0" t="0" r="r" b="b"/>
            <a:pathLst>
              <a:path w="21600" h="21600" extrusionOk="0">
                <a:moveTo>
                  <a:pt x="138" y="0"/>
                </a:moveTo>
                <a:lnTo>
                  <a:pt x="0" y="12610"/>
                </a:lnTo>
                <a:lnTo>
                  <a:pt x="10746" y="21600"/>
                </a:lnTo>
                <a:lnTo>
                  <a:pt x="21600" y="12554"/>
                </a:lnTo>
                <a:lnTo>
                  <a:pt x="21462" y="34"/>
                </a:lnTo>
                <a:lnTo>
                  <a:pt x="138" y="0"/>
                </a:lnTo>
                <a:close/>
              </a:path>
            </a:pathLst>
          </a:custGeom>
          <a:ln w="12700">
            <a:miter lim="400000"/>
          </a:ln>
        </p:spPr>
      </p:pic>
      <p:grpSp>
        <p:nvGrpSpPr>
          <p:cNvPr id="2" name="Group 1"/>
          <p:cNvGrpSpPr/>
          <p:nvPr/>
        </p:nvGrpSpPr>
        <p:grpSpPr>
          <a:xfrm>
            <a:off x="533400" y="1775222"/>
            <a:ext cx="5985975" cy="2243819"/>
            <a:chOff x="716516" y="1434635"/>
            <a:chExt cx="7981298" cy="2991759"/>
          </a:xfrm>
        </p:grpSpPr>
        <p:pic>
          <p:nvPicPr>
            <p:cNvPr id="137" name="Screenshot 2018-04-24 21.46.21.png"/>
            <p:cNvPicPr>
              <a:picLocks noChangeAspect="1"/>
            </p:cNvPicPr>
            <p:nvPr/>
          </p:nvPicPr>
          <p:blipFill>
            <a:blip r:embed="rId3">
              <a:extLst/>
            </a:blip>
            <a:srcRect l="7770" t="29863" r="67627" b="32445"/>
            <a:stretch>
              <a:fillRect/>
            </a:stretch>
          </p:blipFill>
          <p:spPr>
            <a:xfrm>
              <a:off x="716516" y="1434635"/>
              <a:ext cx="3124598" cy="2991759"/>
            </a:xfrm>
            <a:custGeom>
              <a:avLst/>
              <a:gdLst/>
              <a:ahLst/>
              <a:cxnLst>
                <a:cxn ang="0">
                  <a:pos x="wd2" y="hd2"/>
                </a:cxn>
                <a:cxn ang="5400000">
                  <a:pos x="wd2" y="hd2"/>
                </a:cxn>
                <a:cxn ang="10800000">
                  <a:pos x="wd2" y="hd2"/>
                </a:cxn>
                <a:cxn ang="16200000">
                  <a:pos x="wd2" y="hd2"/>
                </a:cxn>
              </a:cxnLst>
              <a:rect l="0" t="0" r="r" b="b"/>
              <a:pathLst>
                <a:path w="21600" h="21577" extrusionOk="0">
                  <a:moveTo>
                    <a:pt x="8000" y="6"/>
                  </a:moveTo>
                  <a:cubicBezTo>
                    <a:pt x="6702" y="100"/>
                    <a:pt x="5619" y="1077"/>
                    <a:pt x="5344" y="2405"/>
                  </a:cubicBezTo>
                  <a:lnTo>
                    <a:pt x="5301" y="5556"/>
                  </a:lnTo>
                  <a:lnTo>
                    <a:pt x="4477" y="5548"/>
                  </a:lnTo>
                  <a:lnTo>
                    <a:pt x="4472" y="13454"/>
                  </a:lnTo>
                  <a:lnTo>
                    <a:pt x="2776" y="13488"/>
                  </a:lnTo>
                  <a:lnTo>
                    <a:pt x="2787" y="15535"/>
                  </a:lnTo>
                  <a:lnTo>
                    <a:pt x="11" y="15583"/>
                  </a:lnTo>
                  <a:lnTo>
                    <a:pt x="0" y="21577"/>
                  </a:lnTo>
                  <a:lnTo>
                    <a:pt x="21600" y="21563"/>
                  </a:lnTo>
                  <a:lnTo>
                    <a:pt x="21586" y="16728"/>
                  </a:lnTo>
                  <a:lnTo>
                    <a:pt x="20407" y="16708"/>
                  </a:lnTo>
                  <a:lnTo>
                    <a:pt x="20390" y="13654"/>
                  </a:lnTo>
                  <a:lnTo>
                    <a:pt x="19238" y="13580"/>
                  </a:lnTo>
                  <a:lnTo>
                    <a:pt x="19273" y="4529"/>
                  </a:lnTo>
                  <a:lnTo>
                    <a:pt x="11657" y="4554"/>
                  </a:lnTo>
                  <a:lnTo>
                    <a:pt x="11668" y="13585"/>
                  </a:lnTo>
                  <a:lnTo>
                    <a:pt x="8604" y="13582"/>
                  </a:lnTo>
                  <a:lnTo>
                    <a:pt x="8513" y="5994"/>
                  </a:lnTo>
                  <a:cubicBezTo>
                    <a:pt x="8817" y="5953"/>
                    <a:pt x="9105" y="5823"/>
                    <a:pt x="9339" y="5616"/>
                  </a:cubicBezTo>
                  <a:cubicBezTo>
                    <a:pt x="9784" y="5225"/>
                    <a:pt x="9998" y="4615"/>
                    <a:pt x="9901" y="4016"/>
                  </a:cubicBezTo>
                  <a:lnTo>
                    <a:pt x="9816" y="1237"/>
                  </a:lnTo>
                  <a:cubicBezTo>
                    <a:pt x="9729" y="822"/>
                    <a:pt x="9481" y="470"/>
                    <a:pt x="9142" y="255"/>
                  </a:cubicBezTo>
                  <a:cubicBezTo>
                    <a:pt x="8806" y="42"/>
                    <a:pt x="8403" y="-23"/>
                    <a:pt x="8000" y="6"/>
                  </a:cubicBezTo>
                  <a:close/>
                </a:path>
              </a:pathLst>
            </a:custGeom>
            <a:ln w="12700">
              <a:miter lim="400000"/>
            </a:ln>
          </p:spPr>
        </p:pic>
        <p:pic>
          <p:nvPicPr>
            <p:cNvPr id="138" name="Screenshot 2018-04-24 21.46.21.png"/>
            <p:cNvPicPr>
              <a:picLocks noChangeAspect="1"/>
            </p:cNvPicPr>
            <p:nvPr/>
          </p:nvPicPr>
          <p:blipFill>
            <a:blip r:embed="rId3">
              <a:extLst/>
            </a:blip>
            <a:srcRect l="32269" t="42968" r="59148" b="43300"/>
            <a:stretch>
              <a:fillRect/>
            </a:stretch>
          </p:blipFill>
          <p:spPr>
            <a:xfrm>
              <a:off x="7607859" y="2474867"/>
              <a:ext cx="1089955" cy="1089888"/>
            </a:xfrm>
            <a:custGeom>
              <a:avLst/>
              <a:gdLst/>
              <a:ahLst/>
              <a:cxnLst>
                <a:cxn ang="0">
                  <a:pos x="wd2" y="hd2"/>
                </a:cxn>
                <a:cxn ang="5400000">
                  <a:pos x="wd2" y="hd2"/>
                </a:cxn>
                <a:cxn ang="10800000">
                  <a:pos x="wd2" y="hd2"/>
                </a:cxn>
                <a:cxn ang="16200000">
                  <a:pos x="wd2" y="hd2"/>
                </a:cxn>
              </a:cxnLst>
              <a:rect l="0" t="0" r="r" b="b"/>
              <a:pathLst>
                <a:path w="19679" h="20595" extrusionOk="0">
                  <a:moveTo>
                    <a:pt x="9839" y="0"/>
                  </a:moveTo>
                  <a:cubicBezTo>
                    <a:pt x="7321" y="0"/>
                    <a:pt x="4802" y="1004"/>
                    <a:pt x="2881" y="3015"/>
                  </a:cubicBezTo>
                  <a:cubicBezTo>
                    <a:pt x="-961" y="7036"/>
                    <a:pt x="-961" y="13557"/>
                    <a:pt x="2881" y="17579"/>
                  </a:cubicBezTo>
                  <a:cubicBezTo>
                    <a:pt x="6724" y="21600"/>
                    <a:pt x="12954" y="21600"/>
                    <a:pt x="16797" y="17579"/>
                  </a:cubicBezTo>
                  <a:cubicBezTo>
                    <a:pt x="20639" y="13557"/>
                    <a:pt x="20639" y="7036"/>
                    <a:pt x="16797" y="3015"/>
                  </a:cubicBezTo>
                  <a:cubicBezTo>
                    <a:pt x="14876" y="1004"/>
                    <a:pt x="12357" y="0"/>
                    <a:pt x="9839" y="0"/>
                  </a:cubicBezTo>
                  <a:close/>
                </a:path>
              </a:pathLst>
            </a:custGeom>
            <a:ln w="12700">
              <a:miter lim="400000"/>
            </a:ln>
          </p:spPr>
        </p:pic>
      </p:grpSp>
      <p:pic>
        <p:nvPicPr>
          <p:cNvPr id="139" name="Screenshot 2018-04-24 21.46.21.png"/>
          <p:cNvPicPr>
            <a:picLocks noChangeAspect="1"/>
          </p:cNvPicPr>
          <p:nvPr/>
        </p:nvPicPr>
        <p:blipFill>
          <a:blip r:embed="rId3">
            <a:extLst/>
          </a:blip>
          <a:srcRect l="45546" t="45010" r="41453" b="45344"/>
          <a:stretch>
            <a:fillRect/>
          </a:stretch>
        </p:blipFill>
        <p:spPr>
          <a:xfrm>
            <a:off x="4142048" y="2676957"/>
            <a:ext cx="1238252" cy="574180"/>
          </a:xfrm>
          <a:custGeom>
            <a:avLst/>
            <a:gdLst/>
            <a:ahLst/>
            <a:cxnLst>
              <a:cxn ang="0">
                <a:pos x="wd2" y="hd2"/>
              </a:cxn>
              <a:cxn ang="5400000">
                <a:pos x="wd2" y="hd2"/>
              </a:cxn>
              <a:cxn ang="10800000">
                <a:pos x="wd2" y="hd2"/>
              </a:cxn>
              <a:cxn ang="16200000">
                <a:pos x="wd2" y="hd2"/>
              </a:cxn>
            </a:cxnLst>
            <a:rect l="0" t="0" r="r" b="b"/>
            <a:pathLst>
              <a:path w="21596" h="21592" extrusionOk="0">
                <a:moveTo>
                  <a:pt x="1947" y="0"/>
                </a:moveTo>
                <a:cubicBezTo>
                  <a:pt x="1385" y="0"/>
                  <a:pt x="1104" y="-3"/>
                  <a:pt x="805" y="201"/>
                </a:cubicBezTo>
                <a:cubicBezTo>
                  <a:pt x="476" y="460"/>
                  <a:pt x="213" y="1026"/>
                  <a:pt x="93" y="1735"/>
                </a:cubicBezTo>
                <a:cubicBezTo>
                  <a:pt x="-2" y="2383"/>
                  <a:pt x="0" y="2996"/>
                  <a:pt x="0" y="4197"/>
                </a:cubicBezTo>
                <a:lnTo>
                  <a:pt x="0" y="17383"/>
                </a:lnTo>
                <a:cubicBezTo>
                  <a:pt x="0" y="18604"/>
                  <a:pt x="-2" y="19220"/>
                  <a:pt x="93" y="19868"/>
                </a:cubicBezTo>
                <a:cubicBezTo>
                  <a:pt x="213" y="20578"/>
                  <a:pt x="476" y="21132"/>
                  <a:pt x="805" y="21391"/>
                </a:cubicBezTo>
                <a:cubicBezTo>
                  <a:pt x="1105" y="21596"/>
                  <a:pt x="1389" y="21592"/>
                  <a:pt x="1947" y="21592"/>
                </a:cubicBezTo>
                <a:lnTo>
                  <a:pt x="19644" y="21592"/>
                </a:lnTo>
                <a:cubicBezTo>
                  <a:pt x="20210" y="21592"/>
                  <a:pt x="20491" y="21596"/>
                  <a:pt x="20791" y="21391"/>
                </a:cubicBezTo>
                <a:cubicBezTo>
                  <a:pt x="21120" y="21132"/>
                  <a:pt x="21383" y="20578"/>
                  <a:pt x="21503" y="19868"/>
                </a:cubicBezTo>
                <a:cubicBezTo>
                  <a:pt x="21598" y="19220"/>
                  <a:pt x="21596" y="18608"/>
                  <a:pt x="21596" y="17406"/>
                </a:cubicBezTo>
                <a:lnTo>
                  <a:pt x="21596" y="4209"/>
                </a:lnTo>
                <a:cubicBezTo>
                  <a:pt x="21596" y="2988"/>
                  <a:pt x="21598" y="2383"/>
                  <a:pt x="21503" y="1735"/>
                </a:cubicBezTo>
                <a:cubicBezTo>
                  <a:pt x="21383" y="1026"/>
                  <a:pt x="21120" y="460"/>
                  <a:pt x="20791" y="201"/>
                </a:cubicBezTo>
                <a:cubicBezTo>
                  <a:pt x="20491" y="-4"/>
                  <a:pt x="20207" y="0"/>
                  <a:pt x="19649" y="0"/>
                </a:cubicBezTo>
                <a:lnTo>
                  <a:pt x="1952" y="0"/>
                </a:lnTo>
                <a:lnTo>
                  <a:pt x="1947" y="0"/>
                </a:lnTo>
                <a:close/>
              </a:path>
            </a:pathLst>
          </a:custGeom>
          <a:ln w="12700">
            <a:miter lim="400000"/>
          </a:ln>
        </p:spPr>
      </p:pic>
      <p:pic>
        <p:nvPicPr>
          <p:cNvPr id="140" name="Screenshot 2018-04-24 21.46.21.png"/>
          <p:cNvPicPr>
            <a:picLocks noChangeAspect="1"/>
          </p:cNvPicPr>
          <p:nvPr/>
        </p:nvPicPr>
        <p:blipFill>
          <a:blip r:embed="rId3">
            <a:extLst/>
          </a:blip>
          <a:srcRect l="63039" t="42968" r="28378" b="43300"/>
          <a:stretch>
            <a:fillRect/>
          </a:stretch>
        </p:blipFill>
        <p:spPr>
          <a:xfrm>
            <a:off x="3035827" y="2555396"/>
            <a:ext cx="817467" cy="817416"/>
          </a:xfrm>
          <a:custGeom>
            <a:avLst/>
            <a:gdLst/>
            <a:ahLst/>
            <a:cxnLst>
              <a:cxn ang="0">
                <a:pos x="wd2" y="hd2"/>
              </a:cxn>
              <a:cxn ang="5400000">
                <a:pos x="wd2" y="hd2"/>
              </a:cxn>
              <a:cxn ang="10800000">
                <a:pos x="wd2" y="hd2"/>
              </a:cxn>
              <a:cxn ang="16200000">
                <a:pos x="wd2" y="hd2"/>
              </a:cxn>
            </a:cxnLst>
            <a:rect l="0" t="0" r="r" b="b"/>
            <a:pathLst>
              <a:path w="19679" h="20595" extrusionOk="0">
                <a:moveTo>
                  <a:pt x="9839" y="0"/>
                </a:moveTo>
                <a:cubicBezTo>
                  <a:pt x="7321" y="0"/>
                  <a:pt x="4802" y="1004"/>
                  <a:pt x="2881" y="3015"/>
                </a:cubicBezTo>
                <a:cubicBezTo>
                  <a:pt x="-961" y="7036"/>
                  <a:pt x="-961" y="13557"/>
                  <a:pt x="2881" y="17579"/>
                </a:cubicBezTo>
                <a:cubicBezTo>
                  <a:pt x="6724" y="21600"/>
                  <a:pt x="12954" y="21600"/>
                  <a:pt x="16797" y="17579"/>
                </a:cubicBezTo>
                <a:cubicBezTo>
                  <a:pt x="20639" y="13557"/>
                  <a:pt x="20639" y="7036"/>
                  <a:pt x="16797" y="3015"/>
                </a:cubicBezTo>
                <a:cubicBezTo>
                  <a:pt x="14876" y="1004"/>
                  <a:pt x="12357" y="0"/>
                  <a:pt x="9839" y="0"/>
                </a:cubicBezTo>
                <a:close/>
              </a:path>
            </a:pathLst>
          </a:custGeom>
          <a:ln w="12700">
            <a:miter lim="400000"/>
          </a:ln>
        </p:spPr>
      </p:pic>
      <p:pic>
        <p:nvPicPr>
          <p:cNvPr id="141" name="Screenshot 2018-04-24 21.46.21.png"/>
          <p:cNvPicPr>
            <a:picLocks noChangeAspect="1"/>
          </p:cNvPicPr>
          <p:nvPr/>
        </p:nvPicPr>
        <p:blipFill>
          <a:blip r:embed="rId3">
            <a:extLst/>
          </a:blip>
          <a:srcRect l="79346" t="19713" r="16028" b="70221"/>
          <a:stretch>
            <a:fillRect/>
          </a:stretch>
        </p:blipFill>
        <p:spPr>
          <a:xfrm>
            <a:off x="7361540" y="1118408"/>
            <a:ext cx="440532" cy="599183"/>
          </a:xfrm>
          <a:custGeom>
            <a:avLst/>
            <a:gdLst/>
            <a:ahLst/>
            <a:cxnLst>
              <a:cxn ang="0">
                <a:pos x="wd2" y="hd2"/>
              </a:cxn>
              <a:cxn ang="5400000">
                <a:pos x="wd2" y="hd2"/>
              </a:cxn>
              <a:cxn ang="10800000">
                <a:pos x="wd2" y="hd2"/>
              </a:cxn>
              <a:cxn ang="16200000">
                <a:pos x="wd2" y="hd2"/>
              </a:cxn>
            </a:cxnLst>
            <a:rect l="0" t="0" r="r" b="b"/>
            <a:pathLst>
              <a:path w="21600" h="21600" extrusionOk="0">
                <a:moveTo>
                  <a:pt x="21396" y="0"/>
                </a:moveTo>
                <a:lnTo>
                  <a:pt x="540" y="86"/>
                </a:lnTo>
                <a:lnTo>
                  <a:pt x="0" y="12533"/>
                </a:lnTo>
                <a:lnTo>
                  <a:pt x="10523" y="21600"/>
                </a:lnTo>
                <a:lnTo>
                  <a:pt x="21600" y="12168"/>
                </a:lnTo>
                <a:lnTo>
                  <a:pt x="21396" y="0"/>
                </a:lnTo>
                <a:close/>
              </a:path>
            </a:pathLst>
          </a:custGeom>
          <a:ln w="12700">
            <a:miter lim="400000"/>
          </a:ln>
        </p:spPr>
      </p:pic>
      <p:pic>
        <p:nvPicPr>
          <p:cNvPr id="143" name="Screenshot 2018-04-24 21.46.21.png"/>
          <p:cNvPicPr>
            <a:picLocks noChangeAspect="1"/>
          </p:cNvPicPr>
          <p:nvPr/>
        </p:nvPicPr>
        <p:blipFill>
          <a:blip r:embed="rId3">
            <a:extLst/>
          </a:blip>
          <a:srcRect l="67067" t="29691" r="6898" b="32373"/>
          <a:stretch>
            <a:fillRect/>
          </a:stretch>
        </p:blipFill>
        <p:spPr>
          <a:xfrm>
            <a:off x="6191984" y="1764967"/>
            <a:ext cx="2479775" cy="2258319"/>
          </a:xfrm>
          <a:custGeom>
            <a:avLst/>
            <a:gdLst/>
            <a:ahLst/>
            <a:cxnLst>
              <a:cxn ang="0">
                <a:pos x="wd2" y="hd2"/>
              </a:cxn>
              <a:cxn ang="5400000">
                <a:pos x="wd2" y="hd2"/>
              </a:cxn>
              <a:cxn ang="10800000">
                <a:pos x="wd2" y="hd2"/>
              </a:cxn>
              <a:cxn ang="16200000">
                <a:pos x="wd2" y="hd2"/>
              </a:cxn>
            </a:cxnLst>
            <a:rect l="0" t="0" r="r" b="b"/>
            <a:pathLst>
              <a:path w="21401" h="21552" extrusionOk="0">
                <a:moveTo>
                  <a:pt x="11298" y="0"/>
                </a:moveTo>
                <a:lnTo>
                  <a:pt x="10630" y="710"/>
                </a:lnTo>
                <a:lnTo>
                  <a:pt x="10623" y="1670"/>
                </a:lnTo>
                <a:lnTo>
                  <a:pt x="10268" y="1846"/>
                </a:lnTo>
                <a:lnTo>
                  <a:pt x="10294" y="2812"/>
                </a:lnTo>
                <a:lnTo>
                  <a:pt x="11144" y="3608"/>
                </a:lnTo>
                <a:lnTo>
                  <a:pt x="10880" y="3960"/>
                </a:lnTo>
                <a:lnTo>
                  <a:pt x="10219" y="4440"/>
                </a:lnTo>
                <a:lnTo>
                  <a:pt x="9675" y="4872"/>
                </a:lnTo>
                <a:lnTo>
                  <a:pt x="9341" y="5886"/>
                </a:lnTo>
                <a:lnTo>
                  <a:pt x="9462" y="8869"/>
                </a:lnTo>
                <a:lnTo>
                  <a:pt x="8575" y="10692"/>
                </a:lnTo>
                <a:lnTo>
                  <a:pt x="8090" y="11030"/>
                </a:lnTo>
                <a:lnTo>
                  <a:pt x="7807" y="12360"/>
                </a:lnTo>
                <a:lnTo>
                  <a:pt x="5508" y="12382"/>
                </a:lnTo>
                <a:lnTo>
                  <a:pt x="5508" y="13857"/>
                </a:lnTo>
                <a:lnTo>
                  <a:pt x="4026" y="13905"/>
                </a:lnTo>
                <a:lnTo>
                  <a:pt x="4036" y="15794"/>
                </a:lnTo>
                <a:cubicBezTo>
                  <a:pt x="3638" y="15903"/>
                  <a:pt x="3298" y="16186"/>
                  <a:pt x="3091" y="16578"/>
                </a:cubicBezTo>
                <a:cubicBezTo>
                  <a:pt x="2899" y="16943"/>
                  <a:pt x="2838" y="17373"/>
                  <a:pt x="2922" y="17785"/>
                </a:cubicBezTo>
                <a:cubicBezTo>
                  <a:pt x="2650" y="17783"/>
                  <a:pt x="2384" y="17873"/>
                  <a:pt x="2159" y="18041"/>
                </a:cubicBezTo>
                <a:cubicBezTo>
                  <a:pt x="1954" y="18194"/>
                  <a:pt x="1791" y="18404"/>
                  <a:pt x="1688" y="18652"/>
                </a:cubicBezTo>
                <a:cubicBezTo>
                  <a:pt x="1230" y="18562"/>
                  <a:pt x="760" y="18726"/>
                  <a:pt x="430" y="19089"/>
                </a:cubicBezTo>
                <a:cubicBezTo>
                  <a:pt x="173" y="19372"/>
                  <a:pt x="23" y="19754"/>
                  <a:pt x="14" y="20155"/>
                </a:cubicBezTo>
                <a:cubicBezTo>
                  <a:pt x="-44" y="20548"/>
                  <a:pt x="80" y="20946"/>
                  <a:pt x="342" y="21220"/>
                </a:cubicBezTo>
                <a:cubicBezTo>
                  <a:pt x="598" y="21487"/>
                  <a:pt x="956" y="21600"/>
                  <a:pt x="1301" y="21524"/>
                </a:cubicBezTo>
                <a:lnTo>
                  <a:pt x="20603" y="21552"/>
                </a:lnTo>
                <a:cubicBezTo>
                  <a:pt x="20928" y="21242"/>
                  <a:pt x="21167" y="20836"/>
                  <a:pt x="21294" y="20382"/>
                </a:cubicBezTo>
                <a:cubicBezTo>
                  <a:pt x="21556" y="19445"/>
                  <a:pt x="21327" y="18425"/>
                  <a:pt x="20698" y="17734"/>
                </a:cubicBezTo>
                <a:lnTo>
                  <a:pt x="19652" y="17686"/>
                </a:lnTo>
                <a:cubicBezTo>
                  <a:pt x="19854" y="17169"/>
                  <a:pt x="19749" y="16568"/>
                  <a:pt x="19390" y="16169"/>
                </a:cubicBezTo>
                <a:cubicBezTo>
                  <a:pt x="19020" y="15758"/>
                  <a:pt x="18458" y="15647"/>
                  <a:pt x="17982" y="15891"/>
                </a:cubicBezTo>
                <a:cubicBezTo>
                  <a:pt x="17990" y="15517"/>
                  <a:pt x="17845" y="15160"/>
                  <a:pt x="17587" y="14919"/>
                </a:cubicBezTo>
                <a:cubicBezTo>
                  <a:pt x="17440" y="14782"/>
                  <a:pt x="17262" y="14692"/>
                  <a:pt x="17073" y="14655"/>
                </a:cubicBezTo>
                <a:lnTo>
                  <a:pt x="13967" y="14689"/>
                </a:lnTo>
                <a:lnTo>
                  <a:pt x="13957" y="13232"/>
                </a:lnTo>
                <a:lnTo>
                  <a:pt x="14766" y="12314"/>
                </a:lnTo>
                <a:lnTo>
                  <a:pt x="14733" y="7485"/>
                </a:lnTo>
                <a:cubicBezTo>
                  <a:pt x="15155" y="6675"/>
                  <a:pt x="15108" y="5670"/>
                  <a:pt x="14617" y="4909"/>
                </a:cubicBezTo>
                <a:cubicBezTo>
                  <a:pt x="14275" y="4379"/>
                  <a:pt x="13750" y="4032"/>
                  <a:pt x="13166" y="3951"/>
                </a:cubicBezTo>
                <a:lnTo>
                  <a:pt x="13166" y="3522"/>
                </a:lnTo>
                <a:cubicBezTo>
                  <a:pt x="13356" y="3252"/>
                  <a:pt x="13495" y="2944"/>
                  <a:pt x="13574" y="2613"/>
                </a:cubicBezTo>
                <a:cubicBezTo>
                  <a:pt x="13692" y="2122"/>
                  <a:pt x="13674" y="1603"/>
                  <a:pt x="13526" y="1122"/>
                </a:cubicBezTo>
                <a:lnTo>
                  <a:pt x="12706" y="9"/>
                </a:lnTo>
                <a:lnTo>
                  <a:pt x="11298" y="0"/>
                </a:lnTo>
                <a:close/>
              </a:path>
            </a:pathLst>
          </a:custGeom>
          <a:ln w="12700">
            <a:miter lim="400000"/>
          </a:ln>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3047" y="2069185"/>
            <a:ext cx="4597906" cy="1005131"/>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74674" y="2061386"/>
            <a:ext cx="4594653" cy="780686"/>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51292" y="2090663"/>
            <a:ext cx="3041417" cy="751409"/>
          </a:xfrm>
          <a:prstGeom prst="rect">
            <a:avLst/>
          </a:prstGeom>
        </p:spPr>
      </p:pic>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96555" y="2099650"/>
            <a:ext cx="5150891" cy="943327"/>
          </a:xfrm>
          <a:prstGeom prst="rect">
            <a:avLst/>
          </a:prstGeom>
        </p:spPr>
      </p:pic>
      <p:pic>
        <p:nvPicPr>
          <p:cNvPr id="23" name="Picture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26980" y="2088912"/>
            <a:ext cx="2885279" cy="753035"/>
          </a:xfrm>
          <a:prstGeom prst="rect">
            <a:avLst/>
          </a:prstGeom>
        </p:spPr>
      </p:pic>
      <p:pic>
        <p:nvPicPr>
          <p:cNvPr id="24" name="Picture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21153" y="2064894"/>
            <a:ext cx="3501695" cy="779058"/>
          </a:xfrm>
          <a:prstGeom prst="rect">
            <a:avLst/>
          </a:prstGeom>
        </p:spPr>
      </p:pic>
      <p:pic>
        <p:nvPicPr>
          <p:cNvPr id="25" name="Picture 2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618742" y="2159336"/>
            <a:ext cx="2306567" cy="683099"/>
          </a:xfrm>
          <a:prstGeom prst="rect">
            <a:avLst/>
          </a:prstGeom>
        </p:spPr>
      </p:pic>
      <p:pic>
        <p:nvPicPr>
          <p:cNvPr id="26" name="Picture 2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62625" y="2134063"/>
            <a:ext cx="4018751" cy="903406"/>
          </a:xfrm>
          <a:prstGeom prst="rect">
            <a:avLst/>
          </a:prstGeom>
        </p:spPr>
      </p:pic>
      <p:sp>
        <p:nvSpPr>
          <p:cNvPr id="3" name="Title 2"/>
          <p:cNvSpPr>
            <a:spLocks noGrp="1"/>
          </p:cNvSpPr>
          <p:nvPr>
            <p:ph type="title"/>
          </p:nvPr>
        </p:nvSpPr>
        <p:spPr/>
        <p:txBody>
          <a:bodyPr/>
          <a:lstStyle/>
          <a:p>
            <a:r>
              <a:rPr lang="en-US" dirty="0" smtClean="0"/>
              <a:t>RTP is a brand new payment system designed for the 21</a:t>
            </a:r>
            <a:r>
              <a:rPr lang="en-US" baseline="30000" dirty="0" smtClean="0"/>
              <a:t>st</a:t>
            </a:r>
            <a:r>
              <a:rPr lang="en-US" dirty="0" smtClean="0"/>
              <a:t> century and beyond</a:t>
            </a:r>
            <a:endParaRPr lang="en-US" dirty="0"/>
          </a:p>
        </p:txBody>
      </p:sp>
    </p:spTree>
    <p:extLst>
      <p:ext uri="{BB962C8B-B14F-4D97-AF65-F5344CB8AC3E}">
        <p14:creationId xmlns:p14="http://schemas.microsoft.com/office/powerpoint/2010/main" val="941841801"/>
      </p:ext>
    </p:extLst>
  </p:cSld>
  <p:clrMapOvr>
    <a:masterClrMapping/>
  </p:clrMapOvr>
  <p:transition advClick="0">
    <p:fade/>
  </p:transition>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39"/>
                                        </p:tgtEl>
                                        <p:attrNameLst>
                                          <p:attrName>style.visibility</p:attrName>
                                        </p:attrNameLst>
                                      </p:cBhvr>
                                      <p:to>
                                        <p:strVal val="visible"/>
                                      </p:to>
                                    </p:set>
                                    <p:animEffect transition="in" filter="fade">
                                      <p:cBhvr>
                                        <p:cTn id="9" dur="500"/>
                                        <p:tgtEl>
                                          <p:spTgt spid="139"/>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140"/>
                                        </p:tgtEl>
                                        <p:attrNameLst>
                                          <p:attrName>style.visibility</p:attrName>
                                        </p:attrNameLst>
                                      </p:cBhvr>
                                      <p:to>
                                        <p:strVal val="visible"/>
                                      </p:to>
                                    </p:set>
                                    <p:animEffect transition="in" filter="fade">
                                      <p:cBhvr>
                                        <p:cTn id="12" dur="500"/>
                                        <p:tgtEl>
                                          <p:spTgt spid="14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3"/>
                                        </p:tgtEl>
                                        <p:attrNameLst>
                                          <p:attrName>style.visibility</p:attrName>
                                        </p:attrNameLst>
                                      </p:cBhvr>
                                      <p:to>
                                        <p:strVal val="visible"/>
                                      </p:to>
                                    </p:set>
                                    <p:animEffect transition="in" filter="fade">
                                      <p:cBhvr>
                                        <p:cTn id="15" dur="500"/>
                                        <p:tgtEl>
                                          <p:spTgt spid="14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 presetClass="path" presetSubtype="0" repeatCount="indefinite" fill="hold" nodeType="withEffect">
                                  <p:stCondLst>
                                    <p:cond delay="0"/>
                                  </p:stCondLst>
                                  <p:childTnLst>
                                    <p:animMotion origin="layout" path="M 3.54167E-6 7.40741E-7 L 0.0681 7.40741E-7 " pathEditMode="relative" rAng="0" ptsTypes="AA">
                                      <p:cBhvr>
                                        <p:cTn id="23" dur="8000" fill="hold"/>
                                        <p:tgtEl>
                                          <p:spTgt spid="16"/>
                                        </p:tgtEl>
                                        <p:attrNameLst>
                                          <p:attrName>ppt_x</p:attrName>
                                          <p:attrName>ppt_y</p:attrName>
                                        </p:attrNameLst>
                                      </p:cBhvr>
                                      <p:rCtr x="3398" y="0"/>
                                    </p:animMotion>
                                  </p:childTnLst>
                                </p:cTn>
                              </p:par>
                              <p:par>
                                <p:cTn id="24" presetID="-1" presetClass="path" presetSubtype="0" repeatCount="indefinite" fill="hold" nodeType="withEffect">
                                  <p:stCondLst>
                                    <p:cond delay="0"/>
                                  </p:stCondLst>
                                  <p:childTnLst>
                                    <p:animMotion origin="layout" path="M 0.06705 1.11111E-6 L -0.02565 1.11111E-6 " pathEditMode="relative" rAng="0" ptsTypes="AA">
                                      <p:cBhvr>
                                        <p:cTn id="25" dur="6000" fill="hold"/>
                                        <p:tgtEl>
                                          <p:spTgt spid="17"/>
                                        </p:tgtEl>
                                        <p:attrNameLst>
                                          <p:attrName>ppt_x</p:attrName>
                                          <p:attrName>ppt_y</p:attrName>
                                        </p:attrNameLst>
                                      </p:cBhvr>
                                      <p:rCtr x="-4635" y="0"/>
                                    </p:animMotion>
                                  </p:childTnLst>
                                </p:cTn>
                              </p:par>
                            </p:childTnLst>
                          </p:cTn>
                        </p:par>
                        <p:par>
                          <p:cTn id="26" fill="hold">
                            <p:stCondLst>
                              <p:cond delay="8000"/>
                            </p:stCondLst>
                            <p:childTnLst>
                              <p:par>
                                <p:cTn id="27" presetID="22" presetClass="entr" presetSubtype="4" fill="hold" grpId="0" nodeType="afterEffect">
                                  <p:stCondLst>
                                    <p:cond delay="0"/>
                                  </p:stCondLst>
                                  <p:iterate>
                                    <p:tmAbs val="0"/>
                                  </p:iterate>
                                  <p:childTnLst>
                                    <p:set>
                                      <p:cBhvr>
                                        <p:cTn id="28" fill="hold"/>
                                        <p:tgtEl>
                                          <p:spTgt spid="141"/>
                                        </p:tgtEl>
                                        <p:attrNameLst>
                                          <p:attrName>style.visibility</p:attrName>
                                        </p:attrNameLst>
                                      </p:cBhvr>
                                      <p:to>
                                        <p:strVal val="visible"/>
                                      </p:to>
                                    </p:set>
                                    <p:animEffect transition="in" filter="wipe(down)">
                                      <p:cBhvr>
                                        <p:cTn id="29" dur="199"/>
                                        <p:tgtEl>
                                          <p:spTgt spid="141"/>
                                        </p:tgtEl>
                                      </p:cBhvr>
                                    </p:animEffect>
                                  </p:childTnLst>
                                </p:cTn>
                              </p:par>
                              <p:par>
                                <p:cTn id="30" presetID="6" presetClass="emph" presetSubtype="0" fill="hold" nodeType="withEffect">
                                  <p:stCondLst>
                                    <p:cond delay="0"/>
                                  </p:stCondLst>
                                  <p:childTnLst>
                                    <p:animScale>
                                      <p:cBhvr>
                                        <p:cTn id="31" dur="300" fill="hold"/>
                                        <p:tgtEl>
                                          <p:spTgt spid="141"/>
                                        </p:tgtEl>
                                      </p:cBhvr>
                                      <p:by x="110000" y="110000"/>
                                    </p:animScale>
                                  </p:childTnLst>
                                </p:cTn>
                              </p:par>
                              <p:par>
                                <p:cTn id="32" presetID="6" presetClass="emph" presetSubtype="0" fill="hold" nodeType="withEffect">
                                  <p:stCondLst>
                                    <p:cond delay="0"/>
                                  </p:stCondLst>
                                  <p:childTnLst>
                                    <p:animScale>
                                      <p:cBhvr>
                                        <p:cTn id="33" dur="300" fill="hold"/>
                                        <p:tgtEl>
                                          <p:spTgt spid="141"/>
                                        </p:tgtEl>
                                      </p:cBhvr>
                                      <p:by x="90000" y="90000"/>
                                    </p:animScale>
                                  </p:childTnLst>
                                </p:cTn>
                              </p:par>
                              <p:par>
                                <p:cTn id="34" presetID="10" presetClass="exit" presetSubtype="0" fill="hold" nodeType="withEffect">
                                  <p:stCondLst>
                                    <p:cond delay="0"/>
                                  </p:stCondLst>
                                  <p:childTnLst>
                                    <p:animEffect transition="out" filter="fade">
                                      <p:cBhvr>
                                        <p:cTn id="35" dur="500"/>
                                        <p:tgtEl>
                                          <p:spTgt spid="141"/>
                                        </p:tgtEl>
                                      </p:cBhvr>
                                    </p:animEffect>
                                    <p:set>
                                      <p:cBhvr>
                                        <p:cTn id="36" dur="1" fill="hold">
                                          <p:stCondLst>
                                            <p:cond delay="499"/>
                                          </p:stCondLst>
                                        </p:cTn>
                                        <p:tgtEl>
                                          <p:spTgt spid="141"/>
                                        </p:tgtEl>
                                        <p:attrNameLst>
                                          <p:attrName>style.visibility</p:attrName>
                                        </p:attrNameLst>
                                      </p:cBhvr>
                                      <p:to>
                                        <p:strVal val="hidden"/>
                                      </p:to>
                                    </p:set>
                                  </p:childTnLst>
                                </p:cTn>
                              </p:par>
                            </p:childTnLst>
                          </p:cTn>
                        </p:par>
                        <p:par>
                          <p:cTn id="37" fill="hold">
                            <p:stCondLst>
                              <p:cond delay="8500"/>
                            </p:stCondLst>
                            <p:childTnLst>
                              <p:par>
                                <p:cTn id="38" presetID="23" presetClass="entr" presetSubtype="16" fill="hold" grpId="0" nodeType="afterEffect">
                                  <p:stCondLst>
                                    <p:cond delay="1000"/>
                                  </p:stCondLst>
                                  <p:iterate>
                                    <p:tmAbs val="0"/>
                                  </p:iterate>
                                  <p:childTnLst>
                                    <p:set>
                                      <p:cBhvr>
                                        <p:cTn id="39" fill="hold"/>
                                        <p:tgtEl>
                                          <p:spTgt spid="10"/>
                                        </p:tgtEl>
                                        <p:attrNameLst>
                                          <p:attrName>style.visibility</p:attrName>
                                        </p:attrNameLst>
                                      </p:cBhvr>
                                      <p:to>
                                        <p:strVal val="visible"/>
                                      </p:to>
                                    </p:set>
                                    <p:anim calcmode="lin" valueType="num">
                                      <p:cBhvr>
                                        <p:cTn id="40" dur="500" fill="hold"/>
                                        <p:tgtEl>
                                          <p:spTgt spid="10"/>
                                        </p:tgtEl>
                                        <p:attrNameLst>
                                          <p:attrName>ppt_w</p:attrName>
                                        </p:attrNameLst>
                                      </p:cBhvr>
                                      <p:tavLst>
                                        <p:tav tm="0">
                                          <p:val>
                                            <p:fltVal val="0"/>
                                          </p:val>
                                        </p:tav>
                                        <p:tav tm="100000">
                                          <p:val>
                                            <p:strVal val="#ppt_w"/>
                                          </p:val>
                                        </p:tav>
                                      </p:tavLst>
                                    </p:anim>
                                    <p:anim calcmode="lin" valueType="num">
                                      <p:cBhvr>
                                        <p:cTn id="41" dur="500" fill="hold"/>
                                        <p:tgtEl>
                                          <p:spTgt spid="10"/>
                                        </p:tgtEl>
                                        <p:attrNameLst>
                                          <p:attrName>ppt_h</p:attrName>
                                        </p:attrNameLst>
                                      </p:cBhvr>
                                      <p:tavLst>
                                        <p:tav tm="0">
                                          <p:val>
                                            <p:fltVal val="0"/>
                                          </p:val>
                                        </p:tav>
                                        <p:tav tm="100000">
                                          <p:val>
                                            <p:strVal val="#ppt_h"/>
                                          </p:val>
                                        </p:tav>
                                      </p:tavLst>
                                    </p:anim>
                                  </p:childTnLst>
                                </p:cTn>
                              </p:par>
                            </p:childTnLst>
                          </p:cTn>
                        </p:par>
                        <p:par>
                          <p:cTn id="42" fill="hold">
                            <p:stCondLst>
                              <p:cond delay="10000"/>
                            </p:stCondLst>
                            <p:childTnLst>
                              <p:par>
                                <p:cTn id="43" presetID="10" presetClass="exit" presetSubtype="0" fill="hold" grpId="1" nodeType="afterEffect">
                                  <p:stCondLst>
                                    <p:cond delay="0"/>
                                  </p:stCondLst>
                                  <p:childTnLst>
                                    <p:animEffect transition="out" filter="fade">
                                      <p:cBhvr>
                                        <p:cTn id="44" dur="500"/>
                                        <p:tgtEl>
                                          <p:spTgt spid="10"/>
                                        </p:tgtEl>
                                      </p:cBhvr>
                                    </p:animEffect>
                                    <p:set>
                                      <p:cBhvr>
                                        <p:cTn id="45" dur="1" fill="hold">
                                          <p:stCondLst>
                                            <p:cond delay="499"/>
                                          </p:stCondLst>
                                        </p:cTn>
                                        <p:tgtEl>
                                          <p:spTgt spid="10"/>
                                        </p:tgtEl>
                                        <p:attrNameLst>
                                          <p:attrName>style.visibility</p:attrName>
                                        </p:attrNameLst>
                                      </p:cBhvr>
                                      <p:to>
                                        <p:strVal val="hidden"/>
                                      </p:to>
                                    </p:set>
                                  </p:childTnLst>
                                </p:cTn>
                              </p:par>
                            </p:childTnLst>
                          </p:cTn>
                        </p:par>
                        <p:par>
                          <p:cTn id="46" fill="hold">
                            <p:stCondLst>
                              <p:cond delay="10500"/>
                            </p:stCondLst>
                            <p:childTnLst>
                              <p:par>
                                <p:cTn id="47" presetID="22" presetClass="entr" presetSubtype="2" fill="hold" grpId="0" nodeType="afterEffect">
                                  <p:stCondLst>
                                    <p:cond delay="400"/>
                                  </p:stCondLst>
                                  <p:iterate>
                                    <p:tmAbs val="0"/>
                                  </p:iterate>
                                  <p:childTnLst>
                                    <p:set>
                                      <p:cBhvr>
                                        <p:cTn id="48" fill="hold"/>
                                        <p:tgtEl>
                                          <p:spTgt spid="11"/>
                                        </p:tgtEl>
                                        <p:attrNameLst>
                                          <p:attrName>style.visibility</p:attrName>
                                        </p:attrNameLst>
                                      </p:cBhvr>
                                      <p:to>
                                        <p:strVal val="visible"/>
                                      </p:to>
                                    </p:set>
                                    <p:animEffect transition="in" filter="wipe(right)">
                                      <p:cBhvr>
                                        <p:cTn id="49" dur="199"/>
                                        <p:tgtEl>
                                          <p:spTgt spid="11"/>
                                        </p:tgtEl>
                                      </p:cBhvr>
                                    </p:animEffect>
                                  </p:childTnLst>
                                </p:cTn>
                              </p:par>
                            </p:childTnLst>
                          </p:cTn>
                        </p:par>
                        <p:par>
                          <p:cTn id="50" fill="hold">
                            <p:stCondLst>
                              <p:cond delay="11099"/>
                            </p:stCondLst>
                            <p:childTnLst>
                              <p:par>
                                <p:cTn id="51" presetID="22" presetClass="exit" presetSubtype="2" fill="hold" grpId="1" nodeType="afterEffect">
                                  <p:stCondLst>
                                    <p:cond delay="500"/>
                                  </p:stCondLst>
                                  <p:childTnLst>
                                    <p:animEffect transition="out" filter="wipe(right)">
                                      <p:cBhvr>
                                        <p:cTn id="52" dur="500"/>
                                        <p:tgtEl>
                                          <p:spTgt spid="11"/>
                                        </p:tgtEl>
                                      </p:cBhvr>
                                    </p:animEffect>
                                    <p:set>
                                      <p:cBhvr>
                                        <p:cTn id="53" dur="1" fill="hold">
                                          <p:stCondLst>
                                            <p:cond delay="499"/>
                                          </p:stCondLst>
                                        </p:cTn>
                                        <p:tgtEl>
                                          <p:spTgt spid="11"/>
                                        </p:tgtEl>
                                        <p:attrNameLst>
                                          <p:attrName>style.visibility</p:attrName>
                                        </p:attrNameLst>
                                      </p:cBhvr>
                                      <p:to>
                                        <p:strVal val="hidden"/>
                                      </p:to>
                                    </p:set>
                                  </p:childTnLst>
                                </p:cTn>
                              </p:par>
                            </p:childTnLst>
                          </p:cTn>
                        </p:par>
                        <p:par>
                          <p:cTn id="54" fill="hold">
                            <p:stCondLst>
                              <p:cond delay="12099"/>
                            </p:stCondLst>
                            <p:childTnLst>
                              <p:par>
                                <p:cTn id="55" presetID="23" presetClass="entr" presetSubtype="16" fill="hold" grpId="0" nodeType="afterEffect">
                                  <p:stCondLst>
                                    <p:cond delay="500"/>
                                  </p:stCondLst>
                                  <p:iterate>
                                    <p:tmAbs val="0"/>
                                  </p:iterate>
                                  <p:childTnLst>
                                    <p:set>
                                      <p:cBhvr>
                                        <p:cTn id="56" fill="hold"/>
                                        <p:tgtEl>
                                          <p:spTgt spid="13"/>
                                        </p:tgtEl>
                                        <p:attrNameLst>
                                          <p:attrName>style.visibility</p:attrName>
                                        </p:attrNameLst>
                                      </p:cBhvr>
                                      <p:to>
                                        <p:strVal val="visible"/>
                                      </p:to>
                                    </p:set>
                                    <p:anim calcmode="lin" valueType="num">
                                      <p:cBhvr>
                                        <p:cTn id="57" dur="500" fill="hold"/>
                                        <p:tgtEl>
                                          <p:spTgt spid="13"/>
                                        </p:tgtEl>
                                        <p:attrNameLst>
                                          <p:attrName>ppt_w</p:attrName>
                                        </p:attrNameLst>
                                      </p:cBhvr>
                                      <p:tavLst>
                                        <p:tav tm="0">
                                          <p:val>
                                            <p:fltVal val="0"/>
                                          </p:val>
                                        </p:tav>
                                        <p:tav tm="100000">
                                          <p:val>
                                            <p:strVal val="#ppt_w"/>
                                          </p:val>
                                        </p:tav>
                                      </p:tavLst>
                                    </p:anim>
                                    <p:anim calcmode="lin" valueType="num">
                                      <p:cBhvr>
                                        <p:cTn id="58" dur="500" fill="hold"/>
                                        <p:tgtEl>
                                          <p:spTgt spid="13"/>
                                        </p:tgtEl>
                                        <p:attrNameLst>
                                          <p:attrName>ppt_h</p:attrName>
                                        </p:attrNameLst>
                                      </p:cBhvr>
                                      <p:tavLst>
                                        <p:tav tm="0">
                                          <p:val>
                                            <p:fltVal val="0"/>
                                          </p:val>
                                        </p:tav>
                                        <p:tav tm="100000">
                                          <p:val>
                                            <p:strVal val="#ppt_h"/>
                                          </p:val>
                                        </p:tav>
                                      </p:tavLst>
                                    </p:anim>
                                  </p:childTnLst>
                                </p:cTn>
                              </p:par>
                              <p:par>
                                <p:cTn id="59" presetID="23" presetClass="entr" presetSubtype="32" fill="hold" grpId="0" nodeType="withEffect">
                                  <p:stCondLst>
                                    <p:cond delay="700"/>
                                  </p:stCondLst>
                                  <p:iterate>
                                    <p:tmAbs val="0"/>
                                  </p:iterate>
                                  <p:childTnLst>
                                    <p:set>
                                      <p:cBhvr>
                                        <p:cTn id="60" fill="hold"/>
                                        <p:tgtEl>
                                          <p:spTgt spid="12"/>
                                        </p:tgtEl>
                                        <p:attrNameLst>
                                          <p:attrName>style.visibility</p:attrName>
                                        </p:attrNameLst>
                                      </p:cBhvr>
                                      <p:to>
                                        <p:strVal val="visible"/>
                                      </p:to>
                                    </p:set>
                                    <p:anim calcmode="lin" valueType="num">
                                      <p:cBhvr>
                                        <p:cTn id="61" dur="200" fill="hold"/>
                                        <p:tgtEl>
                                          <p:spTgt spid="12"/>
                                        </p:tgtEl>
                                        <p:attrNameLst>
                                          <p:attrName>ppt_w</p:attrName>
                                        </p:attrNameLst>
                                      </p:cBhvr>
                                      <p:tavLst>
                                        <p:tav tm="0">
                                          <p:val>
                                            <p:strVal val="4*#ppt_w"/>
                                          </p:val>
                                        </p:tav>
                                        <p:tav tm="100000">
                                          <p:val>
                                            <p:strVal val="#ppt_w"/>
                                          </p:val>
                                        </p:tav>
                                      </p:tavLst>
                                    </p:anim>
                                    <p:anim calcmode="lin" valueType="num">
                                      <p:cBhvr>
                                        <p:cTn id="62" dur="200" fill="hold"/>
                                        <p:tgtEl>
                                          <p:spTgt spid="12"/>
                                        </p:tgtEl>
                                        <p:attrNameLst>
                                          <p:attrName>ppt_h</p:attrName>
                                        </p:attrNameLst>
                                      </p:cBhvr>
                                      <p:tavLst>
                                        <p:tav tm="0">
                                          <p:val>
                                            <p:strVal val="4*#ppt_h"/>
                                          </p:val>
                                        </p:tav>
                                        <p:tav tm="100000">
                                          <p:val>
                                            <p:strVal val="#ppt_h"/>
                                          </p:val>
                                        </p:tav>
                                      </p:tavLst>
                                    </p:anim>
                                  </p:childTnLst>
                                </p:cTn>
                              </p:par>
                            </p:childTnLst>
                          </p:cTn>
                        </p:par>
                        <p:par>
                          <p:cTn id="63" fill="hold">
                            <p:stCondLst>
                              <p:cond delay="13099"/>
                            </p:stCondLst>
                            <p:childTnLst>
                              <p:par>
                                <p:cTn id="64" presetID="10" presetClass="exit" presetSubtype="0" fill="hold" nodeType="afterEffect">
                                  <p:stCondLst>
                                    <p:cond delay="0"/>
                                  </p:stCondLst>
                                  <p:childTnLst>
                                    <p:animEffect transition="out" filter="fade">
                                      <p:cBhvr>
                                        <p:cTn id="65" dur="1000"/>
                                        <p:tgtEl>
                                          <p:spTgt spid="13"/>
                                        </p:tgtEl>
                                      </p:cBhvr>
                                    </p:animEffect>
                                    <p:set>
                                      <p:cBhvr>
                                        <p:cTn id="66" dur="1" fill="hold">
                                          <p:stCondLst>
                                            <p:cond delay="999"/>
                                          </p:stCondLst>
                                        </p:cTn>
                                        <p:tgtEl>
                                          <p:spTgt spid="13"/>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12"/>
                                        </p:tgtEl>
                                        <p:attrNameLst>
                                          <p:attrName>style.visibility</p:attrName>
                                        </p:attrNameLst>
                                      </p:cBhvr>
                                      <p:to>
                                        <p:strVal val="hidden"/>
                                      </p:to>
                                    </p:set>
                                  </p:childTnLst>
                                </p:cTn>
                              </p:par>
                            </p:childTnLst>
                          </p:cTn>
                        </p:par>
                        <p:par>
                          <p:cTn id="69" fill="hold">
                            <p:stCondLst>
                              <p:cond delay="14099"/>
                            </p:stCondLst>
                            <p:childTnLst>
                              <p:par>
                                <p:cTn id="70" presetID="42" presetClass="entr" presetSubtype="0" fill="hold" nodeType="afterEffect">
                                  <p:stCondLst>
                                    <p:cond delay="0"/>
                                  </p:stCondLst>
                                  <p:childTnLst>
                                    <p:set>
                                      <p:cBhvr>
                                        <p:cTn id="71" dur="1" fill="hold">
                                          <p:stCondLst>
                                            <p:cond delay="0"/>
                                          </p:stCondLst>
                                        </p:cTn>
                                        <p:tgtEl>
                                          <p:spTgt spid="19"/>
                                        </p:tgtEl>
                                        <p:attrNameLst>
                                          <p:attrName>style.visibility</p:attrName>
                                        </p:attrNameLst>
                                      </p:cBhvr>
                                      <p:to>
                                        <p:strVal val="visible"/>
                                      </p:to>
                                    </p:set>
                                    <p:animEffect transition="in" filter="fade">
                                      <p:cBhvr>
                                        <p:cTn id="72" dur="500"/>
                                        <p:tgtEl>
                                          <p:spTgt spid="19"/>
                                        </p:tgtEl>
                                      </p:cBhvr>
                                    </p:animEffect>
                                    <p:anim calcmode="lin" valueType="num">
                                      <p:cBhvr>
                                        <p:cTn id="73" dur="500" fill="hold"/>
                                        <p:tgtEl>
                                          <p:spTgt spid="19"/>
                                        </p:tgtEl>
                                        <p:attrNameLst>
                                          <p:attrName>ppt_x</p:attrName>
                                        </p:attrNameLst>
                                      </p:cBhvr>
                                      <p:tavLst>
                                        <p:tav tm="0">
                                          <p:val>
                                            <p:strVal val="#ppt_x"/>
                                          </p:val>
                                        </p:tav>
                                        <p:tav tm="100000">
                                          <p:val>
                                            <p:strVal val="#ppt_x"/>
                                          </p:val>
                                        </p:tav>
                                      </p:tavLst>
                                    </p:anim>
                                    <p:anim calcmode="lin" valueType="num">
                                      <p:cBhvr>
                                        <p:cTn id="74" dur="5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path" presetSubtype="0" accel="50000" decel="50000" fill="hold" nodeType="clickEffect">
                                  <p:stCondLst>
                                    <p:cond delay="0"/>
                                  </p:stCondLst>
                                  <p:childTnLst>
                                    <p:animMotion origin="layout" path="M -0.02205 0.08886 L -0.37083 -0.28911 " pathEditMode="relative" rAng="0" ptsTypes="AA">
                                      <p:cBhvr>
                                        <p:cTn id="78" dur="500" fill="hold"/>
                                        <p:tgtEl>
                                          <p:spTgt spid="19"/>
                                        </p:tgtEl>
                                        <p:attrNameLst>
                                          <p:attrName>ppt_x</p:attrName>
                                          <p:attrName>ppt_y</p:attrName>
                                        </p:attrNameLst>
                                      </p:cBhvr>
                                      <p:rCtr x="-17448" y="-18914"/>
                                    </p:animMotion>
                                  </p:childTnLst>
                                </p:cTn>
                              </p:par>
                              <p:par>
                                <p:cTn id="79" presetID="6" presetClass="emph" presetSubtype="0" fill="hold" nodeType="withEffect">
                                  <p:stCondLst>
                                    <p:cond delay="0"/>
                                  </p:stCondLst>
                                  <p:childTnLst>
                                    <p:animScale>
                                      <p:cBhvr>
                                        <p:cTn id="80" dur="500" fill="hold"/>
                                        <p:tgtEl>
                                          <p:spTgt spid="19"/>
                                        </p:tgtEl>
                                      </p:cBhvr>
                                      <p:by x="35000" y="35000"/>
                                    </p:animScale>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20"/>
                                        </p:tgtEl>
                                        <p:attrNameLst>
                                          <p:attrName>style.visibility</p:attrName>
                                        </p:attrNameLst>
                                      </p:cBhvr>
                                      <p:to>
                                        <p:strVal val="visible"/>
                                      </p:to>
                                    </p:set>
                                    <p:animEffect transition="in" filter="fade">
                                      <p:cBhvr>
                                        <p:cTn id="85" dur="500"/>
                                        <p:tgtEl>
                                          <p:spTgt spid="20"/>
                                        </p:tgtEl>
                                      </p:cBhvr>
                                    </p:animEffect>
                                    <p:anim calcmode="lin" valueType="num">
                                      <p:cBhvr>
                                        <p:cTn id="86" dur="500" fill="hold"/>
                                        <p:tgtEl>
                                          <p:spTgt spid="20"/>
                                        </p:tgtEl>
                                        <p:attrNameLst>
                                          <p:attrName>ppt_x</p:attrName>
                                        </p:attrNameLst>
                                      </p:cBhvr>
                                      <p:tavLst>
                                        <p:tav tm="0">
                                          <p:val>
                                            <p:strVal val="#ppt_x"/>
                                          </p:val>
                                        </p:tav>
                                        <p:tav tm="100000">
                                          <p:val>
                                            <p:strVal val="#ppt_x"/>
                                          </p:val>
                                        </p:tav>
                                      </p:tavLst>
                                    </p:anim>
                                    <p:anim calcmode="lin" valueType="num">
                                      <p:cBhvr>
                                        <p:cTn id="87"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42" presetClass="path" presetSubtype="0" accel="50000" decel="50000" fill="hold" nodeType="clickEffect">
                                  <p:stCondLst>
                                    <p:cond delay="0"/>
                                  </p:stCondLst>
                                  <p:childTnLst>
                                    <p:animMotion origin="layout" path="M 0 3.82598E-6 L -0.10799 -0.26566 " pathEditMode="relative" rAng="0" ptsTypes="AA">
                                      <p:cBhvr>
                                        <p:cTn id="91" dur="500" fill="hold"/>
                                        <p:tgtEl>
                                          <p:spTgt spid="20"/>
                                        </p:tgtEl>
                                        <p:attrNameLst>
                                          <p:attrName>ppt_x</p:attrName>
                                          <p:attrName>ppt_y</p:attrName>
                                        </p:attrNameLst>
                                      </p:cBhvr>
                                      <p:rCtr x="-5399" y="-13298"/>
                                    </p:animMotion>
                                  </p:childTnLst>
                                </p:cTn>
                              </p:par>
                              <p:par>
                                <p:cTn id="92" presetID="6" presetClass="emph" presetSubtype="0" fill="hold" nodeType="withEffect">
                                  <p:stCondLst>
                                    <p:cond delay="0"/>
                                  </p:stCondLst>
                                  <p:childTnLst>
                                    <p:animScale>
                                      <p:cBhvr>
                                        <p:cTn id="93" dur="500" fill="hold"/>
                                        <p:tgtEl>
                                          <p:spTgt spid="20"/>
                                        </p:tgtEl>
                                      </p:cBhvr>
                                      <p:by x="35000" y="35000"/>
                                    </p:animScale>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nodeType="clickEffect">
                                  <p:stCondLst>
                                    <p:cond delay="0"/>
                                  </p:stCondLst>
                                  <p:childTnLst>
                                    <p:set>
                                      <p:cBhvr>
                                        <p:cTn id="97" dur="1" fill="hold">
                                          <p:stCondLst>
                                            <p:cond delay="0"/>
                                          </p:stCondLst>
                                        </p:cTn>
                                        <p:tgtEl>
                                          <p:spTgt spid="21"/>
                                        </p:tgtEl>
                                        <p:attrNameLst>
                                          <p:attrName>style.visibility</p:attrName>
                                        </p:attrNameLst>
                                      </p:cBhvr>
                                      <p:to>
                                        <p:strVal val="visible"/>
                                      </p:to>
                                    </p:set>
                                    <p:animEffect transition="in" filter="fade">
                                      <p:cBhvr>
                                        <p:cTn id="98" dur="500"/>
                                        <p:tgtEl>
                                          <p:spTgt spid="21"/>
                                        </p:tgtEl>
                                      </p:cBhvr>
                                    </p:animEffect>
                                    <p:anim calcmode="lin" valueType="num">
                                      <p:cBhvr>
                                        <p:cTn id="99" dur="500" fill="hold"/>
                                        <p:tgtEl>
                                          <p:spTgt spid="21"/>
                                        </p:tgtEl>
                                        <p:attrNameLst>
                                          <p:attrName>ppt_x</p:attrName>
                                        </p:attrNameLst>
                                      </p:cBhvr>
                                      <p:tavLst>
                                        <p:tav tm="0">
                                          <p:val>
                                            <p:strVal val="#ppt_x"/>
                                          </p:val>
                                        </p:tav>
                                        <p:tav tm="100000">
                                          <p:val>
                                            <p:strVal val="#ppt_x"/>
                                          </p:val>
                                        </p:tav>
                                      </p:tavLst>
                                    </p:anim>
                                    <p:anim calcmode="lin" valueType="num">
                                      <p:cBhvr>
                                        <p:cTn id="100" dur="5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42" presetClass="path" presetSubtype="0" accel="50000" decel="50000" fill="hold" nodeType="clickEffect">
                                  <p:stCondLst>
                                    <p:cond delay="0"/>
                                  </p:stCondLst>
                                  <p:childTnLst>
                                    <p:animMotion origin="layout" path="M 0 -3.09472E-6 L 0.10972 -0.26843 " pathEditMode="relative" rAng="0" ptsTypes="AA">
                                      <p:cBhvr>
                                        <p:cTn id="104" dur="500" fill="hold"/>
                                        <p:tgtEl>
                                          <p:spTgt spid="21"/>
                                        </p:tgtEl>
                                        <p:attrNameLst>
                                          <p:attrName>ppt_x</p:attrName>
                                          <p:attrName>ppt_y</p:attrName>
                                        </p:attrNameLst>
                                      </p:cBhvr>
                                      <p:rCtr x="5486" y="-13422"/>
                                    </p:animMotion>
                                  </p:childTnLst>
                                </p:cTn>
                              </p:par>
                              <p:par>
                                <p:cTn id="105" presetID="6" presetClass="emph" presetSubtype="0" fill="hold" nodeType="withEffect">
                                  <p:stCondLst>
                                    <p:cond delay="0"/>
                                  </p:stCondLst>
                                  <p:childTnLst>
                                    <p:animScale>
                                      <p:cBhvr>
                                        <p:cTn id="106" dur="500" fill="hold"/>
                                        <p:tgtEl>
                                          <p:spTgt spid="21"/>
                                        </p:tgtEl>
                                      </p:cBhvr>
                                      <p:by x="35000" y="35000"/>
                                    </p:animScale>
                                  </p:childTnLst>
                                </p:cTn>
                              </p:par>
                            </p:childTnLst>
                          </p:cTn>
                        </p:par>
                      </p:childTnLst>
                    </p:cTn>
                  </p:par>
                  <p:par>
                    <p:cTn id="107" fill="hold">
                      <p:stCondLst>
                        <p:cond delay="indefinite"/>
                      </p:stCondLst>
                      <p:childTnLst>
                        <p:par>
                          <p:cTn id="108" fill="hold">
                            <p:stCondLst>
                              <p:cond delay="0"/>
                            </p:stCondLst>
                            <p:childTnLst>
                              <p:par>
                                <p:cTn id="109" presetID="42" presetClass="entr" presetSubtype="0" fill="hold" nodeType="clickEffect">
                                  <p:stCondLst>
                                    <p:cond delay="0"/>
                                  </p:stCondLst>
                                  <p:childTnLst>
                                    <p:set>
                                      <p:cBhvr>
                                        <p:cTn id="110" dur="1" fill="hold">
                                          <p:stCondLst>
                                            <p:cond delay="0"/>
                                          </p:stCondLst>
                                        </p:cTn>
                                        <p:tgtEl>
                                          <p:spTgt spid="22"/>
                                        </p:tgtEl>
                                        <p:attrNameLst>
                                          <p:attrName>style.visibility</p:attrName>
                                        </p:attrNameLst>
                                      </p:cBhvr>
                                      <p:to>
                                        <p:strVal val="visible"/>
                                      </p:to>
                                    </p:set>
                                    <p:animEffect transition="in" filter="fade">
                                      <p:cBhvr>
                                        <p:cTn id="111" dur="500"/>
                                        <p:tgtEl>
                                          <p:spTgt spid="22"/>
                                        </p:tgtEl>
                                      </p:cBhvr>
                                    </p:animEffect>
                                    <p:anim calcmode="lin" valueType="num">
                                      <p:cBhvr>
                                        <p:cTn id="112" dur="500" fill="hold"/>
                                        <p:tgtEl>
                                          <p:spTgt spid="22"/>
                                        </p:tgtEl>
                                        <p:attrNameLst>
                                          <p:attrName>ppt_x</p:attrName>
                                        </p:attrNameLst>
                                      </p:cBhvr>
                                      <p:tavLst>
                                        <p:tav tm="0">
                                          <p:val>
                                            <p:strVal val="#ppt_x"/>
                                          </p:val>
                                        </p:tav>
                                        <p:tav tm="100000">
                                          <p:val>
                                            <p:strVal val="#ppt_x"/>
                                          </p:val>
                                        </p:tav>
                                      </p:tavLst>
                                    </p:anim>
                                    <p:anim calcmode="lin" valueType="num">
                                      <p:cBhvr>
                                        <p:cTn id="11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14" fill="hold">
                      <p:stCondLst>
                        <p:cond delay="indefinite"/>
                      </p:stCondLst>
                      <p:childTnLst>
                        <p:par>
                          <p:cTn id="115" fill="hold">
                            <p:stCondLst>
                              <p:cond delay="0"/>
                            </p:stCondLst>
                            <p:childTnLst>
                              <p:par>
                                <p:cTn id="116" presetID="42" presetClass="path" presetSubtype="0" accel="50000" decel="50000" fill="hold" nodeType="clickEffect">
                                  <p:stCondLst>
                                    <p:cond delay="0"/>
                                  </p:stCondLst>
                                  <p:childTnLst>
                                    <p:animMotion origin="layout" path="M 0 4.27337E-6 L 0.33542 -0.28911 " pathEditMode="relative" rAng="0" ptsTypes="AA">
                                      <p:cBhvr>
                                        <p:cTn id="117" dur="500" fill="hold"/>
                                        <p:tgtEl>
                                          <p:spTgt spid="22"/>
                                        </p:tgtEl>
                                        <p:attrNameLst>
                                          <p:attrName>ppt_x</p:attrName>
                                          <p:attrName>ppt_y</p:attrName>
                                        </p:attrNameLst>
                                      </p:cBhvr>
                                      <p:rCtr x="16771" y="-14471"/>
                                    </p:animMotion>
                                  </p:childTnLst>
                                </p:cTn>
                              </p:par>
                              <p:par>
                                <p:cTn id="118" presetID="6" presetClass="emph" presetSubtype="0" fill="hold" nodeType="withEffect">
                                  <p:stCondLst>
                                    <p:cond delay="0"/>
                                  </p:stCondLst>
                                  <p:childTnLst>
                                    <p:animScale>
                                      <p:cBhvr>
                                        <p:cTn id="119" dur="500" fill="hold"/>
                                        <p:tgtEl>
                                          <p:spTgt spid="22"/>
                                        </p:tgtEl>
                                      </p:cBhvr>
                                      <p:by x="35000" y="35000"/>
                                    </p:animScale>
                                  </p:childTnLst>
                                </p:cTn>
                              </p:par>
                            </p:childTnLst>
                          </p:cTn>
                        </p:par>
                      </p:childTnLst>
                    </p:cTn>
                  </p:par>
                  <p:par>
                    <p:cTn id="120" fill="hold">
                      <p:stCondLst>
                        <p:cond delay="indefinite"/>
                      </p:stCondLst>
                      <p:childTnLst>
                        <p:par>
                          <p:cTn id="121" fill="hold">
                            <p:stCondLst>
                              <p:cond delay="0"/>
                            </p:stCondLst>
                            <p:childTnLst>
                              <p:par>
                                <p:cTn id="122" presetID="42" presetClass="entr" presetSubtype="0" fill="hold" nodeType="clickEffect">
                                  <p:stCondLst>
                                    <p:cond delay="0"/>
                                  </p:stCondLst>
                                  <p:childTnLst>
                                    <p:set>
                                      <p:cBhvr>
                                        <p:cTn id="123" dur="1" fill="hold">
                                          <p:stCondLst>
                                            <p:cond delay="0"/>
                                          </p:stCondLst>
                                        </p:cTn>
                                        <p:tgtEl>
                                          <p:spTgt spid="23"/>
                                        </p:tgtEl>
                                        <p:attrNameLst>
                                          <p:attrName>style.visibility</p:attrName>
                                        </p:attrNameLst>
                                      </p:cBhvr>
                                      <p:to>
                                        <p:strVal val="visible"/>
                                      </p:to>
                                    </p:set>
                                    <p:animEffect transition="in" filter="fade">
                                      <p:cBhvr>
                                        <p:cTn id="124" dur="500"/>
                                        <p:tgtEl>
                                          <p:spTgt spid="23"/>
                                        </p:tgtEl>
                                      </p:cBhvr>
                                    </p:animEffect>
                                    <p:anim calcmode="lin" valueType="num">
                                      <p:cBhvr>
                                        <p:cTn id="125" dur="500" fill="hold"/>
                                        <p:tgtEl>
                                          <p:spTgt spid="23"/>
                                        </p:tgtEl>
                                        <p:attrNameLst>
                                          <p:attrName>ppt_x</p:attrName>
                                        </p:attrNameLst>
                                      </p:cBhvr>
                                      <p:tavLst>
                                        <p:tav tm="0">
                                          <p:val>
                                            <p:strVal val="#ppt_x"/>
                                          </p:val>
                                        </p:tav>
                                        <p:tav tm="100000">
                                          <p:val>
                                            <p:strVal val="#ppt_x"/>
                                          </p:val>
                                        </p:tav>
                                      </p:tavLst>
                                    </p:anim>
                                    <p:anim calcmode="lin" valueType="num">
                                      <p:cBhvr>
                                        <p:cTn id="126" dur="5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127" fill="hold">
                      <p:stCondLst>
                        <p:cond delay="indefinite"/>
                      </p:stCondLst>
                      <p:childTnLst>
                        <p:par>
                          <p:cTn id="128" fill="hold">
                            <p:stCondLst>
                              <p:cond delay="0"/>
                            </p:stCondLst>
                            <p:childTnLst>
                              <p:par>
                                <p:cTn id="129" presetID="42" presetClass="path" presetSubtype="0" accel="50000" decel="50000" fill="hold" nodeType="clickEffect">
                                  <p:stCondLst>
                                    <p:cond delay="0"/>
                                  </p:stCondLst>
                                  <p:childTnLst>
                                    <p:animMotion origin="layout" path="M 4.16667E-7 3.33333E-6 L -0.38438 0.4074 " pathEditMode="relative" rAng="0" ptsTypes="AA">
                                      <p:cBhvr>
                                        <p:cTn id="130" dur="500" fill="hold"/>
                                        <p:tgtEl>
                                          <p:spTgt spid="23"/>
                                        </p:tgtEl>
                                        <p:attrNameLst>
                                          <p:attrName>ppt_x</p:attrName>
                                          <p:attrName>ppt_y</p:attrName>
                                        </p:attrNameLst>
                                      </p:cBhvr>
                                      <p:rCtr x="-19219" y="20370"/>
                                    </p:animMotion>
                                  </p:childTnLst>
                                </p:cTn>
                              </p:par>
                              <p:par>
                                <p:cTn id="131" presetID="6" presetClass="emph" presetSubtype="0" fill="hold" nodeType="withEffect">
                                  <p:stCondLst>
                                    <p:cond delay="0"/>
                                  </p:stCondLst>
                                  <p:childTnLst>
                                    <p:animScale>
                                      <p:cBhvr>
                                        <p:cTn id="132" dur="500" fill="hold"/>
                                        <p:tgtEl>
                                          <p:spTgt spid="23"/>
                                        </p:tgtEl>
                                      </p:cBhvr>
                                      <p:by x="35000" y="35000"/>
                                    </p:animScale>
                                  </p:childTnLst>
                                </p:cTn>
                              </p:par>
                            </p:childTnLst>
                          </p:cTn>
                        </p:par>
                      </p:childTnLst>
                    </p:cTn>
                  </p:par>
                  <p:par>
                    <p:cTn id="133" fill="hold">
                      <p:stCondLst>
                        <p:cond delay="indefinite"/>
                      </p:stCondLst>
                      <p:childTnLst>
                        <p:par>
                          <p:cTn id="134" fill="hold">
                            <p:stCondLst>
                              <p:cond delay="0"/>
                            </p:stCondLst>
                            <p:childTnLst>
                              <p:par>
                                <p:cTn id="135" presetID="42" presetClass="entr" presetSubtype="0" fill="hold" nodeType="clickEffect">
                                  <p:stCondLst>
                                    <p:cond delay="0"/>
                                  </p:stCondLst>
                                  <p:childTnLst>
                                    <p:set>
                                      <p:cBhvr>
                                        <p:cTn id="136" dur="1" fill="hold">
                                          <p:stCondLst>
                                            <p:cond delay="0"/>
                                          </p:stCondLst>
                                        </p:cTn>
                                        <p:tgtEl>
                                          <p:spTgt spid="24"/>
                                        </p:tgtEl>
                                        <p:attrNameLst>
                                          <p:attrName>style.visibility</p:attrName>
                                        </p:attrNameLst>
                                      </p:cBhvr>
                                      <p:to>
                                        <p:strVal val="visible"/>
                                      </p:to>
                                    </p:set>
                                    <p:animEffect transition="in" filter="fade">
                                      <p:cBhvr>
                                        <p:cTn id="137" dur="500"/>
                                        <p:tgtEl>
                                          <p:spTgt spid="24"/>
                                        </p:tgtEl>
                                      </p:cBhvr>
                                    </p:animEffect>
                                    <p:anim calcmode="lin" valueType="num">
                                      <p:cBhvr>
                                        <p:cTn id="138" dur="500" fill="hold"/>
                                        <p:tgtEl>
                                          <p:spTgt spid="24"/>
                                        </p:tgtEl>
                                        <p:attrNameLst>
                                          <p:attrName>ppt_x</p:attrName>
                                        </p:attrNameLst>
                                      </p:cBhvr>
                                      <p:tavLst>
                                        <p:tav tm="0">
                                          <p:val>
                                            <p:strVal val="#ppt_x"/>
                                          </p:val>
                                        </p:tav>
                                        <p:tav tm="100000">
                                          <p:val>
                                            <p:strVal val="#ppt_x"/>
                                          </p:val>
                                        </p:tav>
                                      </p:tavLst>
                                    </p:anim>
                                    <p:anim calcmode="lin" valueType="num">
                                      <p:cBhvr>
                                        <p:cTn id="139"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40" fill="hold">
                      <p:stCondLst>
                        <p:cond delay="indefinite"/>
                      </p:stCondLst>
                      <p:childTnLst>
                        <p:par>
                          <p:cTn id="141" fill="hold">
                            <p:stCondLst>
                              <p:cond delay="0"/>
                            </p:stCondLst>
                            <p:childTnLst>
                              <p:par>
                                <p:cTn id="142" presetID="42" presetClass="path" presetSubtype="0" accel="50000" decel="50000" fill="hold" nodeType="clickEffect">
                                  <p:stCondLst>
                                    <p:cond delay="0"/>
                                  </p:stCondLst>
                                  <p:childTnLst>
                                    <p:animMotion origin="layout" path="M 0 -3.33333E-6 L -0.10794 0.40811 " pathEditMode="relative" rAng="0" ptsTypes="AA">
                                      <p:cBhvr>
                                        <p:cTn id="143" dur="500" fill="hold"/>
                                        <p:tgtEl>
                                          <p:spTgt spid="24"/>
                                        </p:tgtEl>
                                        <p:attrNameLst>
                                          <p:attrName>ppt_x</p:attrName>
                                          <p:attrName>ppt_y</p:attrName>
                                        </p:attrNameLst>
                                      </p:cBhvr>
                                      <p:rCtr x="-5404" y="20394"/>
                                    </p:animMotion>
                                  </p:childTnLst>
                                </p:cTn>
                              </p:par>
                              <p:par>
                                <p:cTn id="144" presetID="6" presetClass="emph" presetSubtype="0" fill="hold" nodeType="withEffect">
                                  <p:stCondLst>
                                    <p:cond delay="0"/>
                                  </p:stCondLst>
                                  <p:childTnLst>
                                    <p:animScale>
                                      <p:cBhvr>
                                        <p:cTn id="145" dur="500" fill="hold"/>
                                        <p:tgtEl>
                                          <p:spTgt spid="24"/>
                                        </p:tgtEl>
                                      </p:cBhvr>
                                      <p:by x="35000" y="35000"/>
                                    </p:animScale>
                                  </p:childTnLst>
                                </p:cTn>
                              </p:par>
                            </p:childTnLst>
                          </p:cTn>
                        </p:par>
                      </p:childTnLst>
                    </p:cTn>
                  </p:par>
                  <p:par>
                    <p:cTn id="146" fill="hold">
                      <p:stCondLst>
                        <p:cond delay="indefinite"/>
                      </p:stCondLst>
                      <p:childTnLst>
                        <p:par>
                          <p:cTn id="147" fill="hold">
                            <p:stCondLst>
                              <p:cond delay="0"/>
                            </p:stCondLst>
                            <p:childTnLst>
                              <p:par>
                                <p:cTn id="148" presetID="42" presetClass="entr" presetSubtype="0" fill="hold" nodeType="clickEffect">
                                  <p:stCondLst>
                                    <p:cond delay="0"/>
                                  </p:stCondLst>
                                  <p:childTnLst>
                                    <p:set>
                                      <p:cBhvr>
                                        <p:cTn id="149" dur="1" fill="hold">
                                          <p:stCondLst>
                                            <p:cond delay="0"/>
                                          </p:stCondLst>
                                        </p:cTn>
                                        <p:tgtEl>
                                          <p:spTgt spid="25"/>
                                        </p:tgtEl>
                                        <p:attrNameLst>
                                          <p:attrName>style.visibility</p:attrName>
                                        </p:attrNameLst>
                                      </p:cBhvr>
                                      <p:to>
                                        <p:strVal val="visible"/>
                                      </p:to>
                                    </p:set>
                                    <p:animEffect transition="in" filter="fade">
                                      <p:cBhvr>
                                        <p:cTn id="150" dur="500"/>
                                        <p:tgtEl>
                                          <p:spTgt spid="25"/>
                                        </p:tgtEl>
                                      </p:cBhvr>
                                    </p:animEffect>
                                    <p:anim calcmode="lin" valueType="num">
                                      <p:cBhvr>
                                        <p:cTn id="151" dur="500" fill="hold"/>
                                        <p:tgtEl>
                                          <p:spTgt spid="25"/>
                                        </p:tgtEl>
                                        <p:attrNameLst>
                                          <p:attrName>ppt_x</p:attrName>
                                        </p:attrNameLst>
                                      </p:cBhvr>
                                      <p:tavLst>
                                        <p:tav tm="0">
                                          <p:val>
                                            <p:strVal val="#ppt_x"/>
                                          </p:val>
                                        </p:tav>
                                        <p:tav tm="100000">
                                          <p:val>
                                            <p:strVal val="#ppt_x"/>
                                          </p:val>
                                        </p:tav>
                                      </p:tavLst>
                                    </p:anim>
                                    <p:anim calcmode="lin" valueType="num">
                                      <p:cBhvr>
                                        <p:cTn id="152"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53" fill="hold">
                      <p:stCondLst>
                        <p:cond delay="indefinite"/>
                      </p:stCondLst>
                      <p:childTnLst>
                        <p:par>
                          <p:cTn id="154" fill="hold">
                            <p:stCondLst>
                              <p:cond delay="0"/>
                            </p:stCondLst>
                            <p:childTnLst>
                              <p:par>
                                <p:cTn id="155" presetID="42" presetClass="path" presetSubtype="0" accel="50000" decel="50000" fill="hold" nodeType="clickEffect">
                                  <p:stCondLst>
                                    <p:cond delay="0"/>
                                  </p:stCondLst>
                                  <p:childTnLst>
                                    <p:animMotion origin="layout" path="M 5E-6 -1.11111E-6 L 0.11954 0.40116 " pathEditMode="relative" rAng="0" ptsTypes="AA">
                                      <p:cBhvr>
                                        <p:cTn id="156" dur="500" fill="hold"/>
                                        <p:tgtEl>
                                          <p:spTgt spid="25"/>
                                        </p:tgtEl>
                                        <p:attrNameLst>
                                          <p:attrName>ppt_x</p:attrName>
                                          <p:attrName>ppt_y</p:attrName>
                                        </p:attrNameLst>
                                      </p:cBhvr>
                                      <p:rCtr x="5977" y="20046"/>
                                    </p:animMotion>
                                  </p:childTnLst>
                                </p:cTn>
                              </p:par>
                              <p:par>
                                <p:cTn id="157" presetID="6" presetClass="emph" presetSubtype="0" fill="hold" nodeType="withEffect">
                                  <p:stCondLst>
                                    <p:cond delay="0"/>
                                  </p:stCondLst>
                                  <p:childTnLst>
                                    <p:animScale>
                                      <p:cBhvr>
                                        <p:cTn id="158" dur="500" fill="hold"/>
                                        <p:tgtEl>
                                          <p:spTgt spid="25"/>
                                        </p:tgtEl>
                                      </p:cBhvr>
                                      <p:by x="35000" y="35000"/>
                                    </p:animScale>
                                  </p:childTnLst>
                                </p:cTn>
                              </p:par>
                            </p:childTnLst>
                          </p:cTn>
                        </p:par>
                      </p:childTnLst>
                    </p:cTn>
                  </p:par>
                  <p:par>
                    <p:cTn id="159" fill="hold">
                      <p:stCondLst>
                        <p:cond delay="indefinite"/>
                      </p:stCondLst>
                      <p:childTnLst>
                        <p:par>
                          <p:cTn id="160" fill="hold">
                            <p:stCondLst>
                              <p:cond delay="0"/>
                            </p:stCondLst>
                            <p:childTnLst>
                              <p:par>
                                <p:cTn id="161" presetID="42" presetClass="entr" presetSubtype="0" fill="hold" nodeType="clickEffect">
                                  <p:stCondLst>
                                    <p:cond delay="0"/>
                                  </p:stCondLst>
                                  <p:childTnLst>
                                    <p:set>
                                      <p:cBhvr>
                                        <p:cTn id="162" dur="1" fill="hold">
                                          <p:stCondLst>
                                            <p:cond delay="0"/>
                                          </p:stCondLst>
                                        </p:cTn>
                                        <p:tgtEl>
                                          <p:spTgt spid="26"/>
                                        </p:tgtEl>
                                        <p:attrNameLst>
                                          <p:attrName>style.visibility</p:attrName>
                                        </p:attrNameLst>
                                      </p:cBhvr>
                                      <p:to>
                                        <p:strVal val="visible"/>
                                      </p:to>
                                    </p:set>
                                    <p:animEffect transition="in" filter="fade">
                                      <p:cBhvr>
                                        <p:cTn id="163" dur="500"/>
                                        <p:tgtEl>
                                          <p:spTgt spid="26"/>
                                        </p:tgtEl>
                                      </p:cBhvr>
                                    </p:animEffect>
                                    <p:anim calcmode="lin" valueType="num">
                                      <p:cBhvr>
                                        <p:cTn id="164" dur="500" fill="hold"/>
                                        <p:tgtEl>
                                          <p:spTgt spid="26"/>
                                        </p:tgtEl>
                                        <p:attrNameLst>
                                          <p:attrName>ppt_x</p:attrName>
                                        </p:attrNameLst>
                                      </p:cBhvr>
                                      <p:tavLst>
                                        <p:tav tm="0">
                                          <p:val>
                                            <p:strVal val="#ppt_x"/>
                                          </p:val>
                                        </p:tav>
                                        <p:tav tm="100000">
                                          <p:val>
                                            <p:strVal val="#ppt_x"/>
                                          </p:val>
                                        </p:tav>
                                      </p:tavLst>
                                    </p:anim>
                                    <p:anim calcmode="lin" valueType="num">
                                      <p:cBhvr>
                                        <p:cTn id="165" dur="5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166" fill="hold">
                      <p:stCondLst>
                        <p:cond delay="indefinite"/>
                      </p:stCondLst>
                      <p:childTnLst>
                        <p:par>
                          <p:cTn id="167" fill="hold">
                            <p:stCondLst>
                              <p:cond delay="0"/>
                            </p:stCondLst>
                            <p:childTnLst>
                              <p:par>
                                <p:cTn id="168" presetID="42" presetClass="path" presetSubtype="0" accel="50000" decel="50000" fill="hold" nodeType="clickEffect">
                                  <p:stCondLst>
                                    <p:cond delay="0"/>
                                  </p:stCondLst>
                                  <p:childTnLst>
                                    <p:animMotion origin="layout" path="M 0 3.7037E-6 L 0.36159 0.38889 " pathEditMode="relative" rAng="0" ptsTypes="AA">
                                      <p:cBhvr>
                                        <p:cTn id="169" dur="500" fill="hold"/>
                                        <p:tgtEl>
                                          <p:spTgt spid="26"/>
                                        </p:tgtEl>
                                        <p:attrNameLst>
                                          <p:attrName>ppt_x</p:attrName>
                                          <p:attrName>ppt_y</p:attrName>
                                        </p:attrNameLst>
                                      </p:cBhvr>
                                      <p:rCtr x="18073" y="19444"/>
                                    </p:animMotion>
                                  </p:childTnLst>
                                </p:cTn>
                              </p:par>
                              <p:par>
                                <p:cTn id="170" presetID="6" presetClass="emph" presetSubtype="0" fill="hold" nodeType="withEffect">
                                  <p:stCondLst>
                                    <p:cond delay="0"/>
                                  </p:stCondLst>
                                  <p:childTnLst>
                                    <p:animScale>
                                      <p:cBhvr>
                                        <p:cTn id="171" dur="500" fill="hold"/>
                                        <p:tgtEl>
                                          <p:spTgt spid="26"/>
                                        </p:tgtEl>
                                      </p:cBhvr>
                                      <p:by x="35000" y="3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advAuto="0"/>
      <p:bldP spid="11" grpId="1" animBg="1"/>
      <p:bldP spid="17" grpId="0" animBg="1"/>
      <p:bldP spid="16" grpId="0" animBg="1"/>
      <p:bldP spid="10" grpId="0" animBg="1" advAuto="0"/>
      <p:bldP spid="10" grpId="1" animBg="1" advAuto="0"/>
      <p:bldP spid="12" grpId="0" animBg="1" advAuto="0"/>
      <p:bldP spid="12" grpId="1" animBg="1"/>
      <p:bldP spid="13" grpId="0" animBg="1" advAuto="0"/>
      <p:bldP spid="139" grpId="0" animBg="1" advAuto="0"/>
      <p:bldP spid="140" grpId="0" animBg="1" advAuto="0"/>
      <p:bldP spid="141" grpId="0" animBg="1" advAuto="0"/>
      <p:bldP spid="143" grpId="0" animBg="1" advAuto="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a:xfrm>
            <a:off x="1324028" y="1780204"/>
            <a:ext cx="1086580" cy="302106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Pentagon 61"/>
          <p:cNvSpPr/>
          <p:nvPr/>
        </p:nvSpPr>
        <p:spPr>
          <a:xfrm>
            <a:off x="6583682" y="1079018"/>
            <a:ext cx="1828800" cy="338956"/>
          </a:xfrm>
          <a:prstGeom prst="homePlate">
            <a:avLst/>
          </a:prstGeom>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63" name="Pentagon 62"/>
          <p:cNvSpPr/>
          <p:nvPr/>
        </p:nvSpPr>
        <p:spPr>
          <a:xfrm>
            <a:off x="5017151" y="1073482"/>
            <a:ext cx="1828800" cy="338956"/>
          </a:xfrm>
          <a:prstGeom prst="homePlate">
            <a:avLst/>
          </a:prstGeom>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64" name="Pentagon 63"/>
          <p:cNvSpPr/>
          <p:nvPr/>
        </p:nvSpPr>
        <p:spPr>
          <a:xfrm>
            <a:off x="3656184" y="1075461"/>
            <a:ext cx="1828800" cy="338956"/>
          </a:xfrm>
          <a:prstGeom prst="homePlat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65" name="Pentagon 64"/>
          <p:cNvSpPr/>
          <p:nvPr/>
        </p:nvSpPr>
        <p:spPr>
          <a:xfrm>
            <a:off x="1969151" y="1073482"/>
            <a:ext cx="1828800" cy="338956"/>
          </a:xfrm>
          <a:prstGeom prst="homePlat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66" name="Pentagon 65"/>
          <p:cNvSpPr/>
          <p:nvPr/>
        </p:nvSpPr>
        <p:spPr>
          <a:xfrm>
            <a:off x="444779" y="1073482"/>
            <a:ext cx="1828800" cy="338956"/>
          </a:xfrm>
          <a:prstGeom prst="homePlate">
            <a:avLst/>
          </a:prstGeom>
          <a:solidFill>
            <a:schemeClr val="accent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67" name="TextBox 66"/>
          <p:cNvSpPr txBox="1"/>
          <p:nvPr/>
        </p:nvSpPr>
        <p:spPr>
          <a:xfrm>
            <a:off x="657420" y="1077039"/>
            <a:ext cx="1007392" cy="307777"/>
          </a:xfrm>
          <a:prstGeom prst="rect">
            <a:avLst/>
          </a:prstGeom>
          <a:noFill/>
        </p:spPr>
        <p:txBody>
          <a:bodyPr wrap="none" rtlCol="0">
            <a:spAutoFit/>
          </a:bodyPr>
          <a:lstStyle/>
          <a:p>
            <a:pPr defTabSz="457200"/>
            <a:r>
              <a:rPr lang="en-US" sz="1400" b="1" dirty="0" smtClean="0">
                <a:solidFill>
                  <a:prstClr val="white"/>
                </a:solidFill>
              </a:rPr>
              <a:t>INITIATION</a:t>
            </a:r>
            <a:endParaRPr lang="en-US" sz="1400" b="1" dirty="0">
              <a:solidFill>
                <a:prstClr val="white"/>
              </a:solidFill>
            </a:endParaRPr>
          </a:p>
        </p:txBody>
      </p:sp>
      <p:sp>
        <p:nvSpPr>
          <p:cNvPr id="68" name="TextBox 67"/>
          <p:cNvSpPr txBox="1"/>
          <p:nvPr/>
        </p:nvSpPr>
        <p:spPr>
          <a:xfrm>
            <a:off x="3864067" y="1077038"/>
            <a:ext cx="1097095" cy="307777"/>
          </a:xfrm>
          <a:prstGeom prst="rect">
            <a:avLst/>
          </a:prstGeom>
          <a:noFill/>
        </p:spPr>
        <p:txBody>
          <a:bodyPr wrap="none" rtlCol="0">
            <a:spAutoFit/>
          </a:bodyPr>
          <a:lstStyle/>
          <a:p>
            <a:pPr defTabSz="457200"/>
            <a:r>
              <a:rPr lang="en-US" sz="1400" b="1" dirty="0" smtClean="0">
                <a:solidFill>
                  <a:prstClr val="white"/>
                </a:solidFill>
              </a:rPr>
              <a:t>MESSAGING</a:t>
            </a:r>
            <a:endParaRPr lang="en-US" sz="1400" b="1" dirty="0">
              <a:solidFill>
                <a:prstClr val="white"/>
              </a:solidFill>
            </a:endParaRPr>
          </a:p>
        </p:txBody>
      </p:sp>
      <p:sp>
        <p:nvSpPr>
          <p:cNvPr id="69" name="TextBox 68"/>
          <p:cNvSpPr txBox="1"/>
          <p:nvPr/>
        </p:nvSpPr>
        <p:spPr>
          <a:xfrm>
            <a:off x="2255252" y="1093269"/>
            <a:ext cx="1437509" cy="307777"/>
          </a:xfrm>
          <a:prstGeom prst="rect">
            <a:avLst/>
          </a:prstGeom>
          <a:noFill/>
        </p:spPr>
        <p:txBody>
          <a:bodyPr wrap="none" rtlCol="0">
            <a:spAutoFit/>
          </a:bodyPr>
          <a:lstStyle/>
          <a:p>
            <a:pPr defTabSz="457200"/>
            <a:r>
              <a:rPr lang="en-US" sz="1400" b="1" dirty="0" smtClean="0">
                <a:solidFill>
                  <a:prstClr val="white"/>
                </a:solidFill>
              </a:rPr>
              <a:t>AUTHORIZATION</a:t>
            </a:r>
            <a:endParaRPr lang="en-US" sz="1400" b="1" dirty="0">
              <a:solidFill>
                <a:prstClr val="white"/>
              </a:solidFill>
            </a:endParaRPr>
          </a:p>
        </p:txBody>
      </p:sp>
      <p:sp>
        <p:nvSpPr>
          <p:cNvPr id="70" name="TextBox 69"/>
          <p:cNvSpPr txBox="1"/>
          <p:nvPr/>
        </p:nvSpPr>
        <p:spPr>
          <a:xfrm>
            <a:off x="5521830" y="1093268"/>
            <a:ext cx="931089" cy="307777"/>
          </a:xfrm>
          <a:prstGeom prst="rect">
            <a:avLst/>
          </a:prstGeom>
          <a:noFill/>
        </p:spPr>
        <p:txBody>
          <a:bodyPr wrap="none" rtlCol="0">
            <a:spAutoFit/>
          </a:bodyPr>
          <a:lstStyle/>
          <a:p>
            <a:pPr defTabSz="457200"/>
            <a:r>
              <a:rPr lang="en-US" sz="1400" b="1" dirty="0" smtClean="0">
                <a:solidFill>
                  <a:prstClr val="white"/>
                </a:solidFill>
              </a:rPr>
              <a:t>CLEARING</a:t>
            </a:r>
            <a:endParaRPr lang="en-US" sz="1400" b="1" dirty="0">
              <a:solidFill>
                <a:prstClr val="white"/>
              </a:solidFill>
            </a:endParaRPr>
          </a:p>
        </p:txBody>
      </p:sp>
      <p:sp>
        <p:nvSpPr>
          <p:cNvPr id="71" name="TextBox 70"/>
          <p:cNvSpPr txBox="1"/>
          <p:nvPr/>
        </p:nvSpPr>
        <p:spPr>
          <a:xfrm>
            <a:off x="6997245" y="1073481"/>
            <a:ext cx="1142492" cy="307777"/>
          </a:xfrm>
          <a:prstGeom prst="rect">
            <a:avLst/>
          </a:prstGeom>
          <a:noFill/>
        </p:spPr>
        <p:txBody>
          <a:bodyPr wrap="none" rtlCol="0">
            <a:spAutoFit/>
          </a:bodyPr>
          <a:lstStyle/>
          <a:p>
            <a:pPr defTabSz="457200"/>
            <a:r>
              <a:rPr lang="en-US" sz="1400" b="1" dirty="0" smtClean="0">
                <a:solidFill>
                  <a:prstClr val="white"/>
                </a:solidFill>
              </a:rPr>
              <a:t>SETTLEMENT</a:t>
            </a:r>
            <a:endParaRPr lang="en-US" sz="1400" b="1" dirty="0">
              <a:solidFill>
                <a:prstClr val="white"/>
              </a:solidFill>
            </a:endParaRPr>
          </a:p>
        </p:txBody>
      </p:sp>
      <p:sp>
        <p:nvSpPr>
          <p:cNvPr id="72" name="Rectangle 71"/>
          <p:cNvSpPr/>
          <p:nvPr/>
        </p:nvSpPr>
        <p:spPr>
          <a:xfrm>
            <a:off x="3759231" y="1516280"/>
            <a:ext cx="2933604" cy="304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b="1" dirty="0">
                <a:solidFill>
                  <a:srgbClr val="363534"/>
                </a:solidFill>
              </a:rPr>
              <a:t>U.S. Payments </a:t>
            </a:r>
            <a:r>
              <a:rPr lang="en-US" sz="1400" b="1" dirty="0" smtClean="0">
                <a:solidFill>
                  <a:srgbClr val="363534"/>
                </a:solidFill>
              </a:rPr>
              <a:t>Systems or  “Rails”</a:t>
            </a:r>
            <a:endParaRPr lang="en-US" sz="1400" b="1" dirty="0">
              <a:solidFill>
                <a:srgbClr val="363534"/>
              </a:solidFill>
            </a:endParaRPr>
          </a:p>
        </p:txBody>
      </p:sp>
      <p:cxnSp>
        <p:nvCxnSpPr>
          <p:cNvPr id="73" name="Straight Arrow Connector 72"/>
          <p:cNvCxnSpPr/>
          <p:nvPr/>
        </p:nvCxnSpPr>
        <p:spPr>
          <a:xfrm flipH="1">
            <a:off x="7192892" y="3627170"/>
            <a:ext cx="282928" cy="0"/>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041072" y="3632086"/>
            <a:ext cx="341820" cy="0"/>
          </a:xfrm>
          <a:prstGeom prst="straightConnector1">
            <a:avLst/>
          </a:prstGeom>
          <a:ln w="127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868292" y="3592972"/>
            <a:ext cx="341820" cy="0"/>
          </a:xfrm>
          <a:prstGeom prst="straightConnector1">
            <a:avLst/>
          </a:prstGeom>
          <a:ln w="1270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8052964" y="3627170"/>
            <a:ext cx="282928" cy="0"/>
          </a:xfrm>
          <a:prstGeom prst="straightConnector1">
            <a:avLst/>
          </a:prstGeom>
          <a:ln w="12700">
            <a:headEnd type="triangle"/>
            <a:tailEnd type="non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411092" y="3216863"/>
            <a:ext cx="532518" cy="752218"/>
            <a:chOff x="450443" y="3135791"/>
            <a:chExt cx="532518" cy="752218"/>
          </a:xfrm>
        </p:grpSpPr>
        <p:pic>
          <p:nvPicPr>
            <p:cNvPr id="78" name="Picture 7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1791" y="3135791"/>
              <a:ext cx="309823" cy="538823"/>
            </a:xfrm>
            <a:prstGeom prst="rect">
              <a:avLst/>
            </a:prstGeom>
          </p:spPr>
        </p:pic>
        <p:sp>
          <p:nvSpPr>
            <p:cNvPr id="79" name="TextBox 78"/>
            <p:cNvSpPr txBox="1"/>
            <p:nvPr/>
          </p:nvSpPr>
          <p:spPr>
            <a:xfrm>
              <a:off x="450443" y="3641788"/>
              <a:ext cx="532518" cy="246221"/>
            </a:xfrm>
            <a:prstGeom prst="rect">
              <a:avLst/>
            </a:prstGeom>
            <a:noFill/>
          </p:spPr>
          <p:txBody>
            <a:bodyPr wrap="none" rtlCol="0">
              <a:spAutoFit/>
            </a:bodyPr>
            <a:lstStyle/>
            <a:p>
              <a:pPr algn="ctr" defTabSz="457200"/>
              <a:r>
                <a:rPr lang="en-US" sz="1000" b="1" dirty="0" smtClean="0">
                  <a:solidFill>
                    <a:srgbClr val="363534"/>
                  </a:solidFill>
                </a:rPr>
                <a:t>PAYER</a:t>
              </a:r>
              <a:endParaRPr lang="en-US" sz="1000" b="1" dirty="0">
                <a:solidFill>
                  <a:srgbClr val="363534"/>
                </a:solidFill>
              </a:endParaRPr>
            </a:p>
          </p:txBody>
        </p:sp>
      </p:grpSp>
      <p:grpSp>
        <p:nvGrpSpPr>
          <p:cNvPr id="80" name="Group 79"/>
          <p:cNvGrpSpPr/>
          <p:nvPr/>
        </p:nvGrpSpPr>
        <p:grpSpPr>
          <a:xfrm>
            <a:off x="8346392" y="3218454"/>
            <a:ext cx="522900" cy="824894"/>
            <a:chOff x="820031" y="4945792"/>
            <a:chExt cx="709845" cy="1119805"/>
          </a:xfrm>
        </p:grpSpPr>
        <p:pic>
          <p:nvPicPr>
            <p:cNvPr id="81" name="Picture 8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5038" y="4945792"/>
              <a:ext cx="499831" cy="822892"/>
            </a:xfrm>
            <a:prstGeom prst="rect">
              <a:avLst/>
            </a:prstGeom>
          </p:spPr>
        </p:pic>
        <p:sp>
          <p:nvSpPr>
            <p:cNvPr id="82" name="TextBox 81"/>
            <p:cNvSpPr txBox="1"/>
            <p:nvPr/>
          </p:nvSpPr>
          <p:spPr>
            <a:xfrm>
              <a:off x="820031" y="5731349"/>
              <a:ext cx="709845" cy="334248"/>
            </a:xfrm>
            <a:prstGeom prst="rect">
              <a:avLst/>
            </a:prstGeom>
            <a:noFill/>
          </p:spPr>
          <p:txBody>
            <a:bodyPr wrap="none" rtlCol="0">
              <a:spAutoFit/>
            </a:bodyPr>
            <a:lstStyle/>
            <a:p>
              <a:pPr algn="ctr" defTabSz="457200"/>
              <a:r>
                <a:rPr lang="en-US" sz="1000" b="1" dirty="0" smtClean="0">
                  <a:solidFill>
                    <a:srgbClr val="363534"/>
                  </a:solidFill>
                </a:rPr>
                <a:t>PAYEE</a:t>
              </a:r>
              <a:endParaRPr lang="en-US" sz="1000" b="1" dirty="0">
                <a:solidFill>
                  <a:srgbClr val="363534"/>
                </a:solidFill>
              </a:endParaRPr>
            </a:p>
          </p:txBody>
        </p:sp>
      </p:grpSp>
      <p:grpSp>
        <p:nvGrpSpPr>
          <p:cNvPr id="83" name="Group 82"/>
          <p:cNvGrpSpPr/>
          <p:nvPr/>
        </p:nvGrpSpPr>
        <p:grpSpPr>
          <a:xfrm>
            <a:off x="2350528" y="3326658"/>
            <a:ext cx="803764" cy="642423"/>
            <a:chOff x="2502173" y="4204990"/>
            <a:chExt cx="803764" cy="642423"/>
          </a:xfrm>
        </p:grpSpPr>
        <p:pic>
          <p:nvPicPr>
            <p:cNvPr id="84" name="Picture 11" descr="C:\Users\savidge\Desktop\Real Time Payments Marketing 2016\ECOSYSTEM ICONS\TCH215_UpdatedEcosystem_Icons\TCH215_EcosystemIcons_FinInstit_08091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56942" y="4204990"/>
              <a:ext cx="494227" cy="443174"/>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p:cNvSpPr txBox="1"/>
            <p:nvPr/>
          </p:nvSpPr>
          <p:spPr>
            <a:xfrm>
              <a:off x="2502173" y="4631969"/>
              <a:ext cx="803764" cy="215444"/>
            </a:xfrm>
            <a:prstGeom prst="rect">
              <a:avLst/>
            </a:prstGeom>
            <a:noFill/>
          </p:spPr>
          <p:txBody>
            <a:bodyPr wrap="square" rtlCol="0">
              <a:spAutoFit/>
            </a:bodyPr>
            <a:lstStyle/>
            <a:p>
              <a:pPr algn="ctr" defTabSz="457200"/>
              <a:r>
                <a:rPr lang="en-US" sz="800" b="1" dirty="0" smtClean="0">
                  <a:solidFill>
                    <a:srgbClr val="363534"/>
                  </a:solidFill>
                </a:rPr>
                <a:t>PAYER’S FI</a:t>
              </a:r>
              <a:endParaRPr lang="en-US" sz="800" b="1" dirty="0">
                <a:solidFill>
                  <a:srgbClr val="363534"/>
                </a:solidFill>
              </a:endParaRPr>
            </a:p>
          </p:txBody>
        </p:sp>
      </p:grpSp>
      <p:grpSp>
        <p:nvGrpSpPr>
          <p:cNvPr id="86" name="Group 85"/>
          <p:cNvGrpSpPr/>
          <p:nvPr/>
        </p:nvGrpSpPr>
        <p:grpSpPr>
          <a:xfrm>
            <a:off x="7390648" y="3402858"/>
            <a:ext cx="803764" cy="642423"/>
            <a:chOff x="2502173" y="4204990"/>
            <a:chExt cx="803764" cy="642423"/>
          </a:xfrm>
        </p:grpSpPr>
        <p:pic>
          <p:nvPicPr>
            <p:cNvPr id="87" name="Picture 11" descr="C:\Users\savidge\Desktop\Real Time Payments Marketing 2016\ECOSYSTEM ICONS\TCH215_UpdatedEcosystem_Icons\TCH215_EcosystemIcons_FinInstit_08091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56942" y="4204990"/>
              <a:ext cx="494227" cy="443174"/>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nvSpPr>
          <p:spPr>
            <a:xfrm>
              <a:off x="2502173" y="4631969"/>
              <a:ext cx="803764" cy="215444"/>
            </a:xfrm>
            <a:prstGeom prst="rect">
              <a:avLst/>
            </a:prstGeom>
            <a:noFill/>
          </p:spPr>
          <p:txBody>
            <a:bodyPr wrap="square" rtlCol="0">
              <a:spAutoFit/>
            </a:bodyPr>
            <a:lstStyle/>
            <a:p>
              <a:pPr algn="ctr" defTabSz="457200"/>
              <a:r>
                <a:rPr lang="en-US" sz="800" b="1" dirty="0" smtClean="0">
                  <a:solidFill>
                    <a:srgbClr val="363534"/>
                  </a:solidFill>
                </a:rPr>
                <a:t>PAYEE’S FI</a:t>
              </a:r>
              <a:endParaRPr lang="en-US" sz="800" b="1" dirty="0">
                <a:solidFill>
                  <a:srgbClr val="363534"/>
                </a:solidFill>
              </a:endParaRPr>
            </a:p>
          </p:txBody>
        </p:sp>
      </p:grpSp>
      <p:sp>
        <p:nvSpPr>
          <p:cNvPr id="89" name="Rectangle 88"/>
          <p:cNvSpPr/>
          <p:nvPr/>
        </p:nvSpPr>
        <p:spPr>
          <a:xfrm>
            <a:off x="3591742" y="3431379"/>
            <a:ext cx="3524950" cy="590303"/>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grpSp>
        <p:nvGrpSpPr>
          <p:cNvPr id="90" name="Group 89"/>
          <p:cNvGrpSpPr/>
          <p:nvPr/>
        </p:nvGrpSpPr>
        <p:grpSpPr>
          <a:xfrm>
            <a:off x="3591742" y="1947977"/>
            <a:ext cx="3524950" cy="348845"/>
            <a:chOff x="1988419" y="4264099"/>
            <a:chExt cx="3296350" cy="348845"/>
          </a:xfrm>
        </p:grpSpPr>
        <p:sp>
          <p:nvSpPr>
            <p:cNvPr id="91" name="Rectangle 90"/>
            <p:cNvSpPr/>
            <p:nvPr/>
          </p:nvSpPr>
          <p:spPr>
            <a:xfrm>
              <a:off x="1988419" y="4264099"/>
              <a:ext cx="3296350" cy="33519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2" name="TextBox 91"/>
            <p:cNvSpPr txBox="1"/>
            <p:nvPr/>
          </p:nvSpPr>
          <p:spPr>
            <a:xfrm>
              <a:off x="2586178" y="4274390"/>
              <a:ext cx="2100832" cy="338554"/>
            </a:xfrm>
            <a:prstGeom prst="rect">
              <a:avLst/>
            </a:prstGeom>
            <a:noFill/>
          </p:spPr>
          <p:txBody>
            <a:bodyPr wrap="none" rtlCol="0">
              <a:spAutoFit/>
            </a:bodyPr>
            <a:lstStyle/>
            <a:p>
              <a:pPr defTabSz="457200"/>
              <a:r>
                <a:rPr lang="en-US" sz="1600" b="1" dirty="0" smtClean="0">
                  <a:solidFill>
                    <a:prstClr val="white"/>
                  </a:solidFill>
                </a:rPr>
                <a:t>Check Image Exchange</a:t>
              </a:r>
              <a:endParaRPr lang="en-US" sz="1600" b="1" dirty="0">
                <a:solidFill>
                  <a:prstClr val="white"/>
                </a:solidFill>
              </a:endParaRPr>
            </a:p>
          </p:txBody>
        </p:sp>
      </p:grpSp>
      <p:grpSp>
        <p:nvGrpSpPr>
          <p:cNvPr id="93" name="Group 92"/>
          <p:cNvGrpSpPr/>
          <p:nvPr/>
        </p:nvGrpSpPr>
        <p:grpSpPr>
          <a:xfrm>
            <a:off x="3591742" y="2440779"/>
            <a:ext cx="3524950" cy="348845"/>
            <a:chOff x="1919520" y="4791089"/>
            <a:chExt cx="3296350" cy="348845"/>
          </a:xfrm>
        </p:grpSpPr>
        <p:sp>
          <p:nvSpPr>
            <p:cNvPr id="94" name="Rectangle 93"/>
            <p:cNvSpPr/>
            <p:nvPr/>
          </p:nvSpPr>
          <p:spPr>
            <a:xfrm>
              <a:off x="1919520" y="4791089"/>
              <a:ext cx="3296350" cy="33519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5" name="TextBox 94"/>
            <p:cNvSpPr txBox="1"/>
            <p:nvPr/>
          </p:nvSpPr>
          <p:spPr>
            <a:xfrm>
              <a:off x="3294639" y="4801380"/>
              <a:ext cx="546112" cy="338554"/>
            </a:xfrm>
            <a:prstGeom prst="rect">
              <a:avLst/>
            </a:prstGeom>
            <a:noFill/>
          </p:spPr>
          <p:txBody>
            <a:bodyPr wrap="none" rtlCol="0">
              <a:spAutoFit/>
            </a:bodyPr>
            <a:lstStyle/>
            <a:p>
              <a:pPr defTabSz="457200"/>
              <a:r>
                <a:rPr lang="en-US" sz="1600" b="1" dirty="0" smtClean="0">
                  <a:solidFill>
                    <a:prstClr val="white"/>
                  </a:solidFill>
                </a:rPr>
                <a:t>ACH</a:t>
              </a:r>
              <a:endParaRPr lang="en-US" sz="1600" b="1" dirty="0">
                <a:solidFill>
                  <a:prstClr val="white"/>
                </a:solidFill>
              </a:endParaRPr>
            </a:p>
          </p:txBody>
        </p:sp>
      </p:grpSp>
      <p:grpSp>
        <p:nvGrpSpPr>
          <p:cNvPr id="96" name="Group 95"/>
          <p:cNvGrpSpPr/>
          <p:nvPr/>
        </p:nvGrpSpPr>
        <p:grpSpPr>
          <a:xfrm>
            <a:off x="3591742" y="2974179"/>
            <a:ext cx="3524950" cy="348845"/>
            <a:chOff x="1947156" y="5343927"/>
            <a:chExt cx="3296350" cy="348845"/>
          </a:xfrm>
        </p:grpSpPr>
        <p:sp>
          <p:nvSpPr>
            <p:cNvPr id="97" name="Rectangle 96"/>
            <p:cNvSpPr/>
            <p:nvPr/>
          </p:nvSpPr>
          <p:spPr>
            <a:xfrm>
              <a:off x="1947156" y="5343927"/>
              <a:ext cx="3296350" cy="33519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8" name="TextBox 97"/>
            <p:cNvSpPr txBox="1"/>
            <p:nvPr/>
          </p:nvSpPr>
          <p:spPr>
            <a:xfrm>
              <a:off x="3298166" y="5354218"/>
              <a:ext cx="594330" cy="338554"/>
            </a:xfrm>
            <a:prstGeom prst="rect">
              <a:avLst/>
            </a:prstGeom>
            <a:noFill/>
          </p:spPr>
          <p:txBody>
            <a:bodyPr wrap="none" rtlCol="0">
              <a:spAutoFit/>
            </a:bodyPr>
            <a:lstStyle/>
            <a:p>
              <a:pPr defTabSz="457200"/>
              <a:r>
                <a:rPr lang="en-US" sz="1600" b="1" dirty="0" smtClean="0">
                  <a:solidFill>
                    <a:prstClr val="white"/>
                  </a:solidFill>
                </a:rPr>
                <a:t>Wire</a:t>
              </a:r>
              <a:endParaRPr lang="en-US" sz="1600" b="1" dirty="0">
                <a:solidFill>
                  <a:prstClr val="white"/>
                </a:solidFill>
              </a:endParaRPr>
            </a:p>
          </p:txBody>
        </p:sp>
      </p:grpSp>
      <p:pic>
        <p:nvPicPr>
          <p:cNvPr id="99" name="Content Placeholder 4"/>
          <p:cNvPicPr>
            <a:picLocks noChangeAspect="1"/>
          </p:cNvPicPr>
          <p:nvPr/>
        </p:nvPicPr>
        <p:blipFill rotWithShape="1">
          <a:blip r:embed="rId5">
            <a:extLst>
              <a:ext uri="{28A0092B-C50C-407E-A947-70E740481C1C}">
                <a14:useLocalDpi xmlns:a14="http://schemas.microsoft.com/office/drawing/2010/main" val="0"/>
              </a:ext>
            </a:extLst>
          </a:blip>
          <a:srcRect l="10059" t="12282" r="9825" b="22181"/>
          <a:stretch/>
        </p:blipFill>
        <p:spPr>
          <a:xfrm>
            <a:off x="4818250" y="3516495"/>
            <a:ext cx="1079242" cy="452586"/>
          </a:xfrm>
          <a:prstGeom prst="rect">
            <a:avLst/>
          </a:prstGeom>
        </p:spPr>
      </p:pic>
      <p:grpSp>
        <p:nvGrpSpPr>
          <p:cNvPr id="100" name="Group 99"/>
          <p:cNvGrpSpPr/>
          <p:nvPr/>
        </p:nvGrpSpPr>
        <p:grpSpPr>
          <a:xfrm>
            <a:off x="1071526" y="2593179"/>
            <a:ext cx="1598742" cy="752336"/>
            <a:chOff x="1081852" y="2361256"/>
            <a:chExt cx="1947333" cy="837543"/>
          </a:xfrm>
        </p:grpSpPr>
        <p:sp>
          <p:nvSpPr>
            <p:cNvPr id="101" name="TextBox 100"/>
            <p:cNvSpPr txBox="1"/>
            <p:nvPr/>
          </p:nvSpPr>
          <p:spPr>
            <a:xfrm>
              <a:off x="1081852" y="2898717"/>
              <a:ext cx="1947333" cy="300082"/>
            </a:xfrm>
            <a:prstGeom prst="rect">
              <a:avLst/>
            </a:prstGeom>
            <a:noFill/>
            <a:ln>
              <a:noFill/>
            </a:ln>
          </p:spPr>
          <p:txBody>
            <a:bodyPr wrap="square" rtlCol="0">
              <a:spAutoFit/>
            </a:bodyPr>
            <a:lstStyle/>
            <a:p>
              <a:pPr algn="ctr"/>
              <a:r>
                <a:rPr lang="en-US" sz="1000" dirty="0" smtClean="0">
                  <a:solidFill>
                    <a:schemeClr val="tx2"/>
                  </a:solidFill>
                  <a:ea typeface="Open Sans Light" panose="020B0306030504020204" pitchFamily="34" charset="0"/>
                  <a:cs typeface="Myriad Pro"/>
                </a:rPr>
                <a:t>Corporate </a:t>
              </a:r>
              <a:br>
                <a:rPr lang="en-US" sz="1000" dirty="0" smtClean="0">
                  <a:solidFill>
                    <a:schemeClr val="tx2"/>
                  </a:solidFill>
                  <a:ea typeface="Open Sans Light" panose="020B0306030504020204" pitchFamily="34" charset="0"/>
                  <a:cs typeface="Myriad Pro"/>
                </a:rPr>
              </a:br>
              <a:r>
                <a:rPr lang="en-US" sz="1000" dirty="0" smtClean="0">
                  <a:solidFill>
                    <a:schemeClr val="tx2"/>
                  </a:solidFill>
                  <a:ea typeface="Open Sans Light" panose="020B0306030504020204" pitchFamily="34" charset="0"/>
                  <a:cs typeface="Myriad Pro"/>
                </a:rPr>
                <a:t>Disbursements</a:t>
              </a:r>
            </a:p>
          </p:txBody>
        </p:sp>
        <p:pic>
          <p:nvPicPr>
            <p:cNvPr id="102" name="Picture 101" descr="TCh223_CorpBuilding_041217.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53766" y="2361256"/>
              <a:ext cx="603504" cy="603504"/>
            </a:xfrm>
            <a:prstGeom prst="rect">
              <a:avLst/>
            </a:prstGeom>
          </p:spPr>
        </p:pic>
      </p:grpSp>
      <p:grpSp>
        <p:nvGrpSpPr>
          <p:cNvPr id="103" name="Group 102"/>
          <p:cNvGrpSpPr/>
          <p:nvPr/>
        </p:nvGrpSpPr>
        <p:grpSpPr>
          <a:xfrm>
            <a:off x="1324028" y="3431379"/>
            <a:ext cx="1093739" cy="697506"/>
            <a:chOff x="1389409" y="3151483"/>
            <a:chExt cx="1332219" cy="776503"/>
          </a:xfrm>
        </p:grpSpPr>
        <p:pic>
          <p:nvPicPr>
            <p:cNvPr id="104" name="Picture 103" descr="TCh223_ManDollar_041217.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98902" y="3151483"/>
              <a:ext cx="713232" cy="713232"/>
            </a:xfrm>
            <a:prstGeom prst="rect">
              <a:avLst/>
            </a:prstGeom>
          </p:spPr>
        </p:pic>
        <p:sp>
          <p:nvSpPr>
            <p:cNvPr id="105" name="TextBox 104"/>
            <p:cNvSpPr txBox="1"/>
            <p:nvPr/>
          </p:nvSpPr>
          <p:spPr>
            <a:xfrm>
              <a:off x="1389409" y="3743320"/>
              <a:ext cx="1332219" cy="184666"/>
            </a:xfrm>
            <a:prstGeom prst="rect">
              <a:avLst/>
            </a:prstGeom>
            <a:noFill/>
            <a:ln>
              <a:noFill/>
            </a:ln>
          </p:spPr>
          <p:txBody>
            <a:bodyPr wrap="square" rtlCol="0">
              <a:spAutoFit/>
            </a:bodyPr>
            <a:lstStyle/>
            <a:p>
              <a:pPr algn="ctr"/>
              <a:r>
                <a:rPr lang="en-US" sz="1000" dirty="0" smtClean="0">
                  <a:solidFill>
                    <a:schemeClr val="tx2"/>
                  </a:solidFill>
                  <a:ea typeface="Open Sans Light" panose="020B0306030504020204" pitchFamily="34" charset="0"/>
                  <a:cs typeface="Myriad Pro"/>
                </a:rPr>
                <a:t>Payroll</a:t>
              </a:r>
            </a:p>
          </p:txBody>
        </p:sp>
      </p:grpSp>
      <p:grpSp>
        <p:nvGrpSpPr>
          <p:cNvPr id="106" name="Group 105"/>
          <p:cNvGrpSpPr/>
          <p:nvPr/>
        </p:nvGrpSpPr>
        <p:grpSpPr>
          <a:xfrm>
            <a:off x="1020692" y="1754979"/>
            <a:ext cx="1700411" cy="717303"/>
            <a:chOff x="1033279" y="1453229"/>
            <a:chExt cx="2071170" cy="798543"/>
          </a:xfrm>
        </p:grpSpPr>
        <p:sp>
          <p:nvSpPr>
            <p:cNvPr id="107" name="TextBox 106"/>
            <p:cNvSpPr txBox="1"/>
            <p:nvPr/>
          </p:nvSpPr>
          <p:spPr>
            <a:xfrm>
              <a:off x="1033279" y="1951690"/>
              <a:ext cx="2071170" cy="300082"/>
            </a:xfrm>
            <a:prstGeom prst="rect">
              <a:avLst/>
            </a:prstGeom>
            <a:noFill/>
            <a:ln>
              <a:noFill/>
            </a:ln>
          </p:spPr>
          <p:txBody>
            <a:bodyPr wrap="square" rtlCol="0">
              <a:spAutoFit/>
            </a:bodyPr>
            <a:lstStyle/>
            <a:p>
              <a:pPr algn="ctr"/>
              <a:r>
                <a:rPr lang="en-US" sz="1000" dirty="0" smtClean="0">
                  <a:solidFill>
                    <a:schemeClr val="tx2"/>
                  </a:solidFill>
                  <a:ea typeface="Open Sans Light" panose="020B0306030504020204" pitchFamily="34" charset="0"/>
                  <a:cs typeface="Myriad Pro"/>
                </a:rPr>
                <a:t>Bill Pay / </a:t>
              </a:r>
              <a:br>
                <a:rPr lang="en-US" sz="1000" dirty="0" smtClean="0">
                  <a:solidFill>
                    <a:schemeClr val="tx2"/>
                  </a:solidFill>
                  <a:ea typeface="Open Sans Light" panose="020B0306030504020204" pitchFamily="34" charset="0"/>
                  <a:cs typeface="Myriad Pro"/>
                </a:rPr>
              </a:br>
              <a:r>
                <a:rPr lang="en-US" sz="1000" dirty="0" smtClean="0">
                  <a:solidFill>
                    <a:schemeClr val="tx2"/>
                  </a:solidFill>
                  <a:ea typeface="Open Sans Light" panose="020B0306030504020204" pitchFamily="34" charset="0"/>
                  <a:cs typeface="Myriad Pro"/>
                </a:rPr>
                <a:t>Individual Payments</a:t>
              </a:r>
            </a:p>
          </p:txBody>
        </p:sp>
        <p:pic>
          <p:nvPicPr>
            <p:cNvPr id="108" name="Picture 107" descr="TCh223_Dollars_041217.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26334" y="1453229"/>
              <a:ext cx="658368" cy="658368"/>
            </a:xfrm>
            <a:prstGeom prst="rect">
              <a:avLst/>
            </a:prstGeom>
          </p:spPr>
        </p:pic>
      </p:grpSp>
      <p:grpSp>
        <p:nvGrpSpPr>
          <p:cNvPr id="109" name="Group 108"/>
          <p:cNvGrpSpPr/>
          <p:nvPr/>
        </p:nvGrpSpPr>
        <p:grpSpPr>
          <a:xfrm>
            <a:off x="1206339" y="4117179"/>
            <a:ext cx="1329117" cy="604861"/>
            <a:chOff x="1246059" y="3932285"/>
            <a:chExt cx="1618918" cy="673364"/>
          </a:xfrm>
        </p:grpSpPr>
        <p:sp>
          <p:nvSpPr>
            <p:cNvPr id="110" name="TextBox 109"/>
            <p:cNvSpPr txBox="1"/>
            <p:nvPr/>
          </p:nvSpPr>
          <p:spPr>
            <a:xfrm>
              <a:off x="1246059" y="4420983"/>
              <a:ext cx="1618918" cy="184666"/>
            </a:xfrm>
            <a:prstGeom prst="rect">
              <a:avLst/>
            </a:prstGeom>
            <a:noFill/>
            <a:ln>
              <a:noFill/>
            </a:ln>
          </p:spPr>
          <p:txBody>
            <a:bodyPr wrap="square" rtlCol="0">
              <a:spAutoFit/>
            </a:bodyPr>
            <a:lstStyle/>
            <a:p>
              <a:pPr algn="ctr"/>
              <a:r>
                <a:rPr lang="en-US" sz="1000" dirty="0" smtClean="0">
                  <a:solidFill>
                    <a:schemeClr val="tx2"/>
                  </a:solidFill>
                  <a:ea typeface="Open Sans Light" panose="020B0306030504020204" pitchFamily="34" charset="0"/>
                  <a:cs typeface="Myriad Pro"/>
                </a:rPr>
                <a:t>B2B Payments</a:t>
              </a:r>
            </a:p>
          </p:txBody>
        </p:sp>
        <p:pic>
          <p:nvPicPr>
            <p:cNvPr id="111" name="Picture 110" descr="TCh223_Truck_041217.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26334" y="3932285"/>
              <a:ext cx="658368" cy="658368"/>
            </a:xfrm>
            <a:prstGeom prst="rect">
              <a:avLst/>
            </a:prstGeom>
          </p:spPr>
        </p:pic>
      </p:grpSp>
      <p:sp>
        <p:nvSpPr>
          <p:cNvPr id="112" name="Title 111"/>
          <p:cNvSpPr>
            <a:spLocks noGrp="1"/>
          </p:cNvSpPr>
          <p:nvPr>
            <p:ph type="title"/>
          </p:nvPr>
        </p:nvSpPr>
        <p:spPr/>
        <p:txBody>
          <a:bodyPr/>
          <a:lstStyle/>
          <a:p>
            <a:r>
              <a:rPr lang="en-US" dirty="0" smtClean="0"/>
              <a:t>RTP was built to support the growing demand of customers in a real-time market</a:t>
            </a:r>
            <a:endParaRPr lang="en-US" dirty="0"/>
          </a:p>
        </p:txBody>
      </p:sp>
    </p:spTree>
    <p:extLst>
      <p:ext uri="{BB962C8B-B14F-4D97-AF65-F5344CB8AC3E}">
        <p14:creationId xmlns:p14="http://schemas.microsoft.com/office/powerpoint/2010/main" val="424972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457166" y="766762"/>
            <a:ext cx="8305835" cy="3675311"/>
          </a:xfrm>
          <a:prstGeom prst="rect">
            <a:avLst/>
          </a:prstGeom>
          <a:noFill/>
          <a:ln w="25400" cap="flat" cmpd="sng" algn="ctr">
            <a:noFill/>
            <a:prstDash val="solid"/>
          </a:ln>
          <a:effectLst/>
        </p:spPr>
        <p:txBody>
          <a:bodyPr rtlCol="0" anchor="ctr"/>
          <a:lstStyle/>
          <a:p>
            <a:pPr algn="ctr" defTabSz="914411">
              <a:defRPr/>
            </a:pPr>
            <a:endParaRPr lang="en-US" sz="1801" kern="0">
              <a:solidFill>
                <a:prstClr val="white"/>
              </a:solidFill>
              <a:latin typeface="Calibri"/>
            </a:endParaRPr>
          </a:p>
        </p:txBody>
      </p:sp>
      <p:sp>
        <p:nvSpPr>
          <p:cNvPr id="19" name="Title 2"/>
          <p:cNvSpPr txBox="1">
            <a:spLocks/>
          </p:cNvSpPr>
          <p:nvPr/>
        </p:nvSpPr>
        <p:spPr>
          <a:xfrm>
            <a:off x="257512" y="223588"/>
            <a:ext cx="7974095" cy="400051"/>
          </a:xfrm>
          <a:prstGeom prst="rect">
            <a:avLst/>
          </a:prstGeom>
        </p:spPr>
        <p:txBody>
          <a:bodyPr vert="horz" lIns="91440" tIns="45721" rIns="91440" bIns="45721" rtlCol="0" anchor="t" anchorCtr="0">
            <a:noAutofit/>
          </a:bodyPr>
          <a:lstStyle>
            <a:lvl1pPr algn="l" defTabSz="457200" rtl="0" eaLnBrk="1" latinLnBrk="0" hangingPunct="1">
              <a:spcBef>
                <a:spcPct val="0"/>
              </a:spcBef>
              <a:buNone/>
              <a:defRPr sz="3600" b="1" kern="1200">
                <a:solidFill>
                  <a:schemeClr val="tx2"/>
                </a:solidFill>
                <a:latin typeface="+mj-lt"/>
                <a:ea typeface="+mj-ea"/>
                <a:cs typeface="+mj-cs"/>
              </a:defRPr>
            </a:lvl1pPr>
          </a:lstStyle>
          <a:p>
            <a:pPr>
              <a:lnSpc>
                <a:spcPts val="2300"/>
              </a:lnSpc>
            </a:pPr>
            <a:endParaRPr lang="en-US" sz="2800" dirty="0"/>
          </a:p>
        </p:txBody>
      </p:sp>
      <p:sp>
        <p:nvSpPr>
          <p:cNvPr id="8" name="Title 7"/>
          <p:cNvSpPr>
            <a:spLocks noGrp="1"/>
          </p:cNvSpPr>
          <p:nvPr>
            <p:ph type="title"/>
          </p:nvPr>
        </p:nvSpPr>
        <p:spPr/>
        <p:txBody>
          <a:bodyPr/>
          <a:lstStyle/>
          <a:p>
            <a:pPr>
              <a:lnSpc>
                <a:spcPts val="3200"/>
              </a:lnSpc>
            </a:pPr>
            <a:r>
              <a:rPr lang="en-US" dirty="0" smtClean="0">
                <a:cs typeface="Myriad Pro Light"/>
              </a:rPr>
              <a:t>The RTP messages are the building </a:t>
            </a:r>
            <a:r>
              <a:rPr lang="en-US" dirty="0">
                <a:cs typeface="Myriad Pro Light"/>
              </a:rPr>
              <a:t>b</a:t>
            </a:r>
            <a:r>
              <a:rPr lang="en-US" dirty="0" smtClean="0">
                <a:cs typeface="Myriad Pro Light"/>
              </a:rPr>
              <a:t>locks for new products and deeper integration</a:t>
            </a:r>
            <a:endParaRPr lang="en-US" sz="2400" dirty="0">
              <a:cs typeface="Myriad Pro Light"/>
            </a:endParaRPr>
          </a:p>
        </p:txBody>
      </p:sp>
      <p:sp>
        <p:nvSpPr>
          <p:cNvPr id="53" name="Rectangle 52"/>
          <p:cNvSpPr/>
          <p:nvPr/>
        </p:nvSpPr>
        <p:spPr>
          <a:xfrm>
            <a:off x="793405" y="2948272"/>
            <a:ext cx="2384520" cy="178054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55" name="Rectangle 54"/>
          <p:cNvSpPr/>
          <p:nvPr/>
        </p:nvSpPr>
        <p:spPr>
          <a:xfrm>
            <a:off x="5847086" y="1048261"/>
            <a:ext cx="2384520" cy="178054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4"/>
              </a:solidFill>
            </a:endParaRPr>
          </a:p>
        </p:txBody>
      </p:sp>
      <p:sp>
        <p:nvSpPr>
          <p:cNvPr id="57" name="Rectangle 56"/>
          <p:cNvSpPr/>
          <p:nvPr/>
        </p:nvSpPr>
        <p:spPr>
          <a:xfrm>
            <a:off x="3319633" y="1048261"/>
            <a:ext cx="2384520" cy="1780546"/>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lumMod val="50000"/>
                </a:prstClr>
              </a:solidFill>
            </a:endParaRPr>
          </a:p>
        </p:txBody>
      </p:sp>
      <p:sp>
        <p:nvSpPr>
          <p:cNvPr id="59" name="Rectangle 58"/>
          <p:cNvSpPr/>
          <p:nvPr/>
        </p:nvSpPr>
        <p:spPr>
          <a:xfrm>
            <a:off x="819163" y="1048261"/>
            <a:ext cx="2384520" cy="1780546"/>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lumMod val="50000"/>
                </a:prstClr>
              </a:solidFill>
            </a:endParaRPr>
          </a:p>
        </p:txBody>
      </p:sp>
      <p:sp>
        <p:nvSpPr>
          <p:cNvPr id="66" name="Rectangle 65"/>
          <p:cNvSpPr/>
          <p:nvPr/>
        </p:nvSpPr>
        <p:spPr>
          <a:xfrm>
            <a:off x="3293875" y="2948272"/>
            <a:ext cx="2384520" cy="1780546"/>
          </a:xfrm>
          <a:prstGeom prst="rect">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b="1" dirty="0" smtClean="0">
              <a:solidFill>
                <a:prstClr val="white"/>
              </a:solidFill>
            </a:endParaRPr>
          </a:p>
        </p:txBody>
      </p:sp>
      <p:sp>
        <p:nvSpPr>
          <p:cNvPr id="81" name="Rectangle 80"/>
          <p:cNvSpPr/>
          <p:nvPr/>
        </p:nvSpPr>
        <p:spPr>
          <a:xfrm>
            <a:off x="1043178" y="1137182"/>
            <a:ext cx="1936490" cy="838439"/>
          </a:xfrm>
          <a:prstGeom prst="rect">
            <a:avLst/>
          </a:prstGeom>
          <a:noFill/>
          <a:ln w="28575" cap="rnd" cmpd="sng" algn="ctr">
            <a:noFill/>
            <a:prstDash val="solid"/>
          </a:ln>
          <a:effectLst/>
        </p:spPr>
        <p:txBody>
          <a:bodyPr lIns="45721" rIns="45721" rtlCol="0" anchor="ctr"/>
          <a:lstStyle/>
          <a:p>
            <a:pPr algn="ctr">
              <a:lnSpc>
                <a:spcPts val="1200"/>
              </a:lnSpc>
            </a:pPr>
            <a:r>
              <a:rPr lang="en-US" b="1" kern="0" dirty="0">
                <a:solidFill>
                  <a:srgbClr val="FFFFFF"/>
                </a:solidFill>
                <a:cs typeface="Myriad Pro"/>
              </a:rPr>
              <a:t>Credit</a:t>
            </a:r>
          </a:p>
          <a:p>
            <a:pPr algn="ctr">
              <a:lnSpc>
                <a:spcPts val="1200"/>
              </a:lnSpc>
            </a:pPr>
            <a:endParaRPr lang="en-US" b="1" kern="0" dirty="0">
              <a:solidFill>
                <a:srgbClr val="FFFFFF"/>
              </a:solidFill>
              <a:cs typeface="Myriad Pro"/>
            </a:endParaRPr>
          </a:p>
          <a:p>
            <a:pPr algn="ctr">
              <a:lnSpc>
                <a:spcPts val="1200"/>
              </a:lnSpc>
            </a:pPr>
            <a:r>
              <a:rPr lang="en-US" b="1" kern="0" dirty="0">
                <a:solidFill>
                  <a:srgbClr val="FFFFFF"/>
                </a:solidFill>
                <a:cs typeface="Myriad Pro"/>
              </a:rPr>
              <a:t> Transfer</a:t>
            </a:r>
          </a:p>
        </p:txBody>
      </p:sp>
      <p:sp>
        <p:nvSpPr>
          <p:cNvPr id="33" name="Rectangle 32"/>
          <p:cNvSpPr/>
          <p:nvPr/>
        </p:nvSpPr>
        <p:spPr>
          <a:xfrm>
            <a:off x="3543648" y="1137182"/>
            <a:ext cx="1936490" cy="838439"/>
          </a:xfrm>
          <a:prstGeom prst="rect">
            <a:avLst/>
          </a:prstGeom>
          <a:noFill/>
          <a:ln w="28575" cap="rnd" cmpd="sng" algn="ctr">
            <a:noFill/>
            <a:prstDash val="solid"/>
          </a:ln>
          <a:effectLst/>
        </p:spPr>
        <p:txBody>
          <a:bodyPr lIns="45721" rIns="45721" rtlCol="0" anchor="ctr"/>
          <a:lstStyle/>
          <a:p>
            <a:pPr algn="ctr">
              <a:lnSpc>
                <a:spcPts val="1200"/>
              </a:lnSpc>
            </a:pPr>
            <a:r>
              <a:rPr lang="en-US" b="1" kern="0" dirty="0">
                <a:solidFill>
                  <a:srgbClr val="FFFFFF"/>
                </a:solidFill>
                <a:cs typeface="Myriad Pro"/>
              </a:rPr>
              <a:t>Request</a:t>
            </a:r>
          </a:p>
          <a:p>
            <a:pPr algn="ctr">
              <a:lnSpc>
                <a:spcPts val="1200"/>
              </a:lnSpc>
            </a:pPr>
            <a:endParaRPr lang="en-US" b="1" kern="0" dirty="0">
              <a:solidFill>
                <a:srgbClr val="FFFFFF"/>
              </a:solidFill>
              <a:cs typeface="Myriad Pro"/>
            </a:endParaRPr>
          </a:p>
          <a:p>
            <a:pPr algn="ctr">
              <a:lnSpc>
                <a:spcPts val="1200"/>
              </a:lnSpc>
            </a:pPr>
            <a:r>
              <a:rPr lang="en-US" b="1" kern="0" dirty="0">
                <a:solidFill>
                  <a:srgbClr val="FFFFFF"/>
                </a:solidFill>
                <a:cs typeface="Myriad Pro"/>
              </a:rPr>
              <a:t>for </a:t>
            </a:r>
          </a:p>
          <a:p>
            <a:pPr algn="ctr">
              <a:lnSpc>
                <a:spcPts val="1200"/>
              </a:lnSpc>
            </a:pPr>
            <a:endParaRPr lang="en-US" b="1" kern="0" dirty="0">
              <a:solidFill>
                <a:srgbClr val="FFFFFF"/>
              </a:solidFill>
              <a:cs typeface="Myriad Pro"/>
            </a:endParaRPr>
          </a:p>
          <a:p>
            <a:pPr algn="ctr">
              <a:lnSpc>
                <a:spcPts val="1200"/>
              </a:lnSpc>
            </a:pPr>
            <a:r>
              <a:rPr lang="en-US" b="1" kern="0" dirty="0">
                <a:solidFill>
                  <a:srgbClr val="FFFFFF"/>
                </a:solidFill>
                <a:cs typeface="Myriad Pro"/>
              </a:rPr>
              <a:t>Payment</a:t>
            </a:r>
          </a:p>
        </p:txBody>
      </p:sp>
      <p:sp>
        <p:nvSpPr>
          <p:cNvPr id="34" name="Rectangle 33"/>
          <p:cNvSpPr/>
          <p:nvPr/>
        </p:nvSpPr>
        <p:spPr>
          <a:xfrm>
            <a:off x="6071101" y="1137182"/>
            <a:ext cx="1936490" cy="838439"/>
          </a:xfrm>
          <a:prstGeom prst="rect">
            <a:avLst/>
          </a:prstGeom>
          <a:noFill/>
          <a:ln w="28575" cap="rnd" cmpd="sng" algn="ctr">
            <a:noFill/>
            <a:prstDash val="solid"/>
          </a:ln>
          <a:effectLst/>
        </p:spPr>
        <p:txBody>
          <a:bodyPr lIns="45721" rIns="45721" rtlCol="0" anchor="ctr"/>
          <a:lstStyle/>
          <a:p>
            <a:pPr algn="ctr">
              <a:lnSpc>
                <a:spcPts val="1200"/>
              </a:lnSpc>
            </a:pPr>
            <a:r>
              <a:rPr lang="en-US" b="1" kern="0" dirty="0">
                <a:solidFill>
                  <a:srgbClr val="FFFFFF"/>
                </a:solidFill>
                <a:cs typeface="Myriad Pro"/>
              </a:rPr>
              <a:t>Receipt</a:t>
            </a:r>
          </a:p>
          <a:p>
            <a:pPr algn="ctr">
              <a:lnSpc>
                <a:spcPts val="1200"/>
              </a:lnSpc>
            </a:pPr>
            <a:endParaRPr lang="en-US" b="1" kern="0" dirty="0">
              <a:solidFill>
                <a:srgbClr val="FFFFFF"/>
              </a:solidFill>
              <a:cs typeface="Myriad Pro"/>
            </a:endParaRPr>
          </a:p>
          <a:p>
            <a:pPr algn="ctr">
              <a:lnSpc>
                <a:spcPts val="1200"/>
              </a:lnSpc>
            </a:pPr>
            <a:r>
              <a:rPr lang="en-US" b="1" kern="0" dirty="0">
                <a:solidFill>
                  <a:srgbClr val="FFFFFF"/>
                </a:solidFill>
                <a:cs typeface="Myriad Pro"/>
              </a:rPr>
              <a:t> Confirmation</a:t>
            </a:r>
          </a:p>
        </p:txBody>
      </p:sp>
      <p:sp>
        <p:nvSpPr>
          <p:cNvPr id="39" name="Rectangle 38"/>
          <p:cNvSpPr/>
          <p:nvPr/>
        </p:nvSpPr>
        <p:spPr>
          <a:xfrm>
            <a:off x="1017420" y="3054724"/>
            <a:ext cx="1936490" cy="838439"/>
          </a:xfrm>
          <a:prstGeom prst="rect">
            <a:avLst/>
          </a:prstGeom>
          <a:noFill/>
          <a:ln w="28575" cap="rnd" cmpd="sng" algn="ctr">
            <a:noFill/>
            <a:prstDash val="solid"/>
          </a:ln>
          <a:effectLst/>
        </p:spPr>
        <p:txBody>
          <a:bodyPr lIns="45721" rIns="45721" rtlCol="0" anchor="ctr"/>
          <a:lstStyle/>
          <a:p>
            <a:pPr algn="ctr">
              <a:lnSpc>
                <a:spcPts val="1200"/>
              </a:lnSpc>
            </a:pPr>
            <a:r>
              <a:rPr lang="en-US" b="1" kern="0" dirty="0" smtClean="0">
                <a:solidFill>
                  <a:srgbClr val="FFFFFF"/>
                </a:solidFill>
                <a:cs typeface="Myriad Pro"/>
              </a:rPr>
              <a:t>Invoice/</a:t>
            </a:r>
          </a:p>
          <a:p>
            <a:pPr algn="ctr">
              <a:lnSpc>
                <a:spcPts val="1200"/>
              </a:lnSpc>
            </a:pPr>
            <a:endParaRPr lang="en-US" b="1" kern="0" dirty="0">
              <a:solidFill>
                <a:srgbClr val="FFFFFF"/>
              </a:solidFill>
              <a:cs typeface="Myriad Pro"/>
            </a:endParaRPr>
          </a:p>
          <a:p>
            <a:pPr algn="ctr">
              <a:lnSpc>
                <a:spcPts val="1200"/>
              </a:lnSpc>
            </a:pPr>
            <a:r>
              <a:rPr lang="en-US" b="1" kern="0" dirty="0" smtClean="0">
                <a:solidFill>
                  <a:srgbClr val="FFFFFF"/>
                </a:solidFill>
                <a:cs typeface="Myriad Pro"/>
              </a:rPr>
              <a:t>Remittance </a:t>
            </a:r>
          </a:p>
          <a:p>
            <a:pPr algn="ctr">
              <a:lnSpc>
                <a:spcPts val="1200"/>
              </a:lnSpc>
            </a:pPr>
            <a:endParaRPr lang="en-US" b="1" kern="0" dirty="0">
              <a:solidFill>
                <a:srgbClr val="FFFFFF"/>
              </a:solidFill>
              <a:cs typeface="Myriad Pro"/>
            </a:endParaRPr>
          </a:p>
          <a:p>
            <a:pPr algn="ctr">
              <a:lnSpc>
                <a:spcPts val="1200"/>
              </a:lnSpc>
            </a:pPr>
            <a:r>
              <a:rPr lang="en-US" b="1" kern="0" dirty="0" smtClean="0">
                <a:solidFill>
                  <a:srgbClr val="FFFFFF"/>
                </a:solidFill>
                <a:cs typeface="Myriad Pro"/>
              </a:rPr>
              <a:t>Detail</a:t>
            </a:r>
            <a:endParaRPr lang="en-US" b="1" kern="0" dirty="0">
              <a:solidFill>
                <a:srgbClr val="FFFFFF"/>
              </a:solidFill>
              <a:cs typeface="Myriad Pro"/>
            </a:endParaRPr>
          </a:p>
        </p:txBody>
      </p:sp>
      <p:sp>
        <p:nvSpPr>
          <p:cNvPr id="42" name="Rectangle 41"/>
          <p:cNvSpPr/>
          <p:nvPr/>
        </p:nvSpPr>
        <p:spPr>
          <a:xfrm>
            <a:off x="3517890" y="3054724"/>
            <a:ext cx="1936490" cy="838439"/>
          </a:xfrm>
          <a:prstGeom prst="rect">
            <a:avLst/>
          </a:prstGeom>
          <a:noFill/>
          <a:ln w="28575" cap="rnd" cmpd="sng" algn="ctr">
            <a:noFill/>
            <a:prstDash val="solid"/>
          </a:ln>
          <a:effectLst/>
        </p:spPr>
        <p:txBody>
          <a:bodyPr lIns="45721" rIns="45721" rtlCol="0" anchor="ctr"/>
          <a:lstStyle/>
          <a:p>
            <a:pPr algn="ctr">
              <a:lnSpc>
                <a:spcPts val="1200"/>
              </a:lnSpc>
            </a:pPr>
            <a:r>
              <a:rPr lang="en-US" b="1" kern="0" dirty="0">
                <a:solidFill>
                  <a:srgbClr val="FFFFFF"/>
                </a:solidFill>
                <a:cs typeface="Myriad Pro"/>
              </a:rPr>
              <a:t>Request</a:t>
            </a:r>
          </a:p>
          <a:p>
            <a:pPr algn="ctr">
              <a:lnSpc>
                <a:spcPts val="1200"/>
              </a:lnSpc>
            </a:pPr>
            <a:endParaRPr lang="en-US" b="1" kern="0" dirty="0">
              <a:solidFill>
                <a:srgbClr val="FFFFFF"/>
              </a:solidFill>
              <a:cs typeface="Myriad Pro"/>
            </a:endParaRPr>
          </a:p>
          <a:p>
            <a:pPr algn="ctr">
              <a:lnSpc>
                <a:spcPts val="1200"/>
              </a:lnSpc>
            </a:pPr>
            <a:r>
              <a:rPr lang="en-US" b="1" kern="0" dirty="0">
                <a:solidFill>
                  <a:srgbClr val="FFFFFF"/>
                </a:solidFill>
                <a:cs typeface="Myriad Pro"/>
              </a:rPr>
              <a:t>for </a:t>
            </a:r>
          </a:p>
          <a:p>
            <a:pPr algn="ctr">
              <a:lnSpc>
                <a:spcPts val="1200"/>
              </a:lnSpc>
            </a:pPr>
            <a:endParaRPr lang="en-US" b="1" kern="0" dirty="0">
              <a:solidFill>
                <a:srgbClr val="FFFFFF"/>
              </a:solidFill>
              <a:cs typeface="Myriad Pro"/>
            </a:endParaRPr>
          </a:p>
          <a:p>
            <a:pPr algn="ctr">
              <a:lnSpc>
                <a:spcPts val="1200"/>
              </a:lnSpc>
            </a:pPr>
            <a:r>
              <a:rPr lang="en-US" b="1" kern="0" dirty="0" smtClean="0">
                <a:solidFill>
                  <a:srgbClr val="FFFFFF"/>
                </a:solidFill>
                <a:cs typeface="Myriad Pro"/>
              </a:rPr>
              <a:t>Information</a:t>
            </a:r>
            <a:endParaRPr lang="en-US" b="1" kern="0" dirty="0">
              <a:solidFill>
                <a:srgbClr val="FFFFFF"/>
              </a:solidFill>
              <a:cs typeface="Myriad Pro"/>
            </a:endParaRPr>
          </a:p>
        </p:txBody>
      </p:sp>
      <p:sp>
        <p:nvSpPr>
          <p:cNvPr id="7" name="Rectangle 6"/>
          <p:cNvSpPr/>
          <p:nvPr/>
        </p:nvSpPr>
        <p:spPr>
          <a:xfrm>
            <a:off x="6562293" y="1787310"/>
            <a:ext cx="954107" cy="1015663"/>
          </a:xfrm>
          <a:prstGeom prst="rect">
            <a:avLst/>
          </a:prstGeom>
        </p:spPr>
        <p:txBody>
          <a:bodyPr wrap="none">
            <a:spAutoFit/>
          </a:bodyPr>
          <a:lstStyle/>
          <a:p>
            <a:r>
              <a:rPr lang="en-US" sz="6000" dirty="0">
                <a:solidFill>
                  <a:schemeClr val="accent3">
                    <a:lumMod val="75000"/>
                  </a:schemeClr>
                </a:solidFill>
              </a:rPr>
              <a:t>👌</a:t>
            </a:r>
          </a:p>
        </p:txBody>
      </p:sp>
      <p:sp>
        <p:nvSpPr>
          <p:cNvPr id="9" name="Rectangle 8"/>
          <p:cNvSpPr/>
          <p:nvPr/>
        </p:nvSpPr>
        <p:spPr>
          <a:xfrm>
            <a:off x="4086191" y="1783316"/>
            <a:ext cx="954107" cy="1015663"/>
          </a:xfrm>
          <a:prstGeom prst="rect">
            <a:avLst/>
          </a:prstGeom>
        </p:spPr>
        <p:txBody>
          <a:bodyPr wrap="none">
            <a:spAutoFit/>
          </a:bodyPr>
          <a:lstStyle/>
          <a:p>
            <a:r>
              <a:rPr lang="en-US" sz="6000" dirty="0">
                <a:solidFill>
                  <a:schemeClr val="bg1"/>
                </a:solidFill>
              </a:rPr>
              <a:t>📪</a:t>
            </a:r>
          </a:p>
        </p:txBody>
      </p:sp>
      <p:sp>
        <p:nvSpPr>
          <p:cNvPr id="10" name="Rectangle 9"/>
          <p:cNvSpPr/>
          <p:nvPr/>
        </p:nvSpPr>
        <p:spPr>
          <a:xfrm>
            <a:off x="1572842" y="1768221"/>
            <a:ext cx="1031051" cy="1107996"/>
          </a:xfrm>
          <a:prstGeom prst="rect">
            <a:avLst/>
          </a:prstGeom>
          <a:noFill/>
        </p:spPr>
        <p:txBody>
          <a:bodyPr wrap="none">
            <a:spAutoFit/>
          </a:bodyPr>
          <a:lstStyle/>
          <a:p>
            <a:r>
              <a:rPr lang="en-US" sz="6600" dirty="0">
                <a:solidFill>
                  <a:srgbClr val="92D050"/>
                </a:solidFill>
              </a:rPr>
              <a:t>💸</a:t>
            </a:r>
          </a:p>
        </p:txBody>
      </p:sp>
      <p:sp>
        <p:nvSpPr>
          <p:cNvPr id="11" name="Rectangle 10"/>
          <p:cNvSpPr/>
          <p:nvPr/>
        </p:nvSpPr>
        <p:spPr>
          <a:xfrm>
            <a:off x="1537083" y="3762184"/>
            <a:ext cx="954107" cy="1015663"/>
          </a:xfrm>
          <a:prstGeom prst="rect">
            <a:avLst/>
          </a:prstGeom>
        </p:spPr>
        <p:txBody>
          <a:bodyPr wrap="none">
            <a:spAutoFit/>
          </a:bodyPr>
          <a:lstStyle/>
          <a:p>
            <a:r>
              <a:rPr lang="en-US" sz="6000" dirty="0">
                <a:solidFill>
                  <a:schemeClr val="bg1"/>
                </a:solidFill>
              </a:rPr>
              <a:t>📰</a:t>
            </a:r>
          </a:p>
        </p:txBody>
      </p:sp>
      <p:sp>
        <p:nvSpPr>
          <p:cNvPr id="4" name="TextBox 3"/>
          <p:cNvSpPr txBox="1"/>
          <p:nvPr/>
        </p:nvSpPr>
        <p:spPr>
          <a:xfrm>
            <a:off x="5847086" y="2954269"/>
            <a:ext cx="2384521" cy="1754326"/>
          </a:xfrm>
          <a:prstGeom prst="rect">
            <a:avLst/>
          </a:prstGeom>
          <a:noFill/>
        </p:spPr>
        <p:txBody>
          <a:bodyPr wrap="square" rtlCol="0">
            <a:spAutoFit/>
          </a:bodyPr>
          <a:lstStyle/>
          <a:p>
            <a:pPr marL="285750" indent="-285750">
              <a:buFont typeface="Arial" panose="020B0604020202020204" pitchFamily="34" charset="0"/>
              <a:buChar char="•"/>
            </a:pPr>
            <a:r>
              <a:rPr lang="en-US" sz="1200" dirty="0" smtClean="0"/>
              <a:t>Messages are ISO 200022</a:t>
            </a:r>
          </a:p>
          <a:p>
            <a:pPr marL="285750" indent="-285750">
              <a:buFont typeface="Arial" panose="020B0604020202020204" pitchFamily="34" charset="0"/>
              <a:buChar char="•"/>
            </a:pPr>
            <a:endParaRPr lang="en-US" sz="1200" dirty="0" smtClean="0"/>
          </a:p>
          <a:p>
            <a:pPr marL="285750" indent="-285750">
              <a:buFont typeface="Arial" panose="020B0604020202020204" pitchFamily="34" charset="0"/>
              <a:buChar char="•"/>
            </a:pPr>
            <a:r>
              <a:rPr lang="en-US" sz="1200" dirty="0" smtClean="0"/>
              <a:t>Assured delivery – all messages are confirmed or rejected immediately</a:t>
            </a:r>
          </a:p>
          <a:p>
            <a:pPr marL="285750" indent="-285750">
              <a:buFont typeface="Arial" panose="020B0604020202020204" pitchFamily="34" charset="0"/>
              <a:buChar char="•"/>
            </a:pPr>
            <a:endParaRPr lang="en-US" sz="1200" dirty="0" smtClean="0"/>
          </a:p>
          <a:p>
            <a:pPr marL="285750" indent="-285750">
              <a:buFont typeface="Arial" panose="020B0604020202020204" pitchFamily="34" charset="0"/>
              <a:buChar char="•"/>
            </a:pPr>
            <a:r>
              <a:rPr lang="en-US" sz="1200" dirty="0" smtClean="0"/>
              <a:t>XML format and assured delivery make RTP a good fit for API-based deployment</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0516" y="3696687"/>
            <a:ext cx="1011237" cy="1279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4980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00000"/>
              </a:lnSpc>
            </a:pPr>
            <a:r>
              <a:rPr lang="en-US" dirty="0"/>
              <a:t>RTP enables a complete contextual conversation about through out the full payment lifecycle</a:t>
            </a:r>
          </a:p>
        </p:txBody>
      </p:sp>
      <p:sp>
        <p:nvSpPr>
          <p:cNvPr id="4" name="Rectangle 3"/>
          <p:cNvSpPr/>
          <p:nvPr/>
        </p:nvSpPr>
        <p:spPr>
          <a:xfrm>
            <a:off x="554284" y="1072830"/>
            <a:ext cx="2632797" cy="54239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t>Company A is owed $2,000 </a:t>
            </a:r>
            <a:br>
              <a:rPr lang="en-US" sz="1400" dirty="0" smtClean="0"/>
            </a:br>
            <a:r>
              <a:rPr lang="en-US" sz="1400" dirty="0" smtClean="0"/>
              <a:t>by Company B</a:t>
            </a:r>
            <a:endParaRPr lang="en-US" sz="1400" dirty="0"/>
          </a:p>
        </p:txBody>
      </p:sp>
      <p:sp>
        <p:nvSpPr>
          <p:cNvPr id="5" name="Right Arrow 4"/>
          <p:cNvSpPr/>
          <p:nvPr/>
        </p:nvSpPr>
        <p:spPr>
          <a:xfrm>
            <a:off x="3632724" y="1115341"/>
            <a:ext cx="2278994" cy="383458"/>
          </a:xfrm>
          <a:prstGeom prst="rightArrow">
            <a:avLst/>
          </a:prstGeom>
          <a:solidFill>
            <a:schemeClr val="accent1">
              <a:tint val="100000"/>
              <a:shade val="100000"/>
              <a:satMod val="1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6" name="Oval 5"/>
          <p:cNvSpPr/>
          <p:nvPr/>
        </p:nvSpPr>
        <p:spPr>
          <a:xfrm>
            <a:off x="6365158" y="1086590"/>
            <a:ext cx="2477089" cy="52572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Request for Payment</a:t>
            </a:r>
            <a:endParaRPr lang="en-US" sz="1400" dirty="0">
              <a:solidFill>
                <a:schemeClr val="bg1"/>
              </a:solidFill>
            </a:endParaRPr>
          </a:p>
        </p:txBody>
      </p:sp>
      <p:sp>
        <p:nvSpPr>
          <p:cNvPr id="7" name="Rectangle 6"/>
          <p:cNvSpPr/>
          <p:nvPr/>
        </p:nvSpPr>
        <p:spPr>
          <a:xfrm>
            <a:off x="608363" y="2602991"/>
            <a:ext cx="2632797" cy="54239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t>Company A doesn’t know what the extra $3,000 was for</a:t>
            </a:r>
            <a:endParaRPr lang="en-US" sz="1400" dirty="0"/>
          </a:p>
        </p:txBody>
      </p:sp>
      <p:sp>
        <p:nvSpPr>
          <p:cNvPr id="8" name="Right Arrow 7"/>
          <p:cNvSpPr/>
          <p:nvPr/>
        </p:nvSpPr>
        <p:spPr>
          <a:xfrm>
            <a:off x="3632724" y="2668149"/>
            <a:ext cx="2278994" cy="383458"/>
          </a:xfrm>
          <a:prstGeom prst="rightArrow">
            <a:avLst/>
          </a:prstGeom>
          <a:solidFill>
            <a:schemeClr val="accent1">
              <a:tint val="100000"/>
              <a:shade val="100000"/>
              <a:satMod val="1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9" name="Oval 8"/>
          <p:cNvSpPr/>
          <p:nvPr/>
        </p:nvSpPr>
        <p:spPr>
          <a:xfrm>
            <a:off x="6311078" y="2618207"/>
            <a:ext cx="2477089" cy="52572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Request for Information</a:t>
            </a:r>
            <a:endParaRPr lang="en-US" sz="1400" dirty="0">
              <a:solidFill>
                <a:schemeClr val="bg1"/>
              </a:solidFill>
            </a:endParaRPr>
          </a:p>
        </p:txBody>
      </p:sp>
      <p:sp>
        <p:nvSpPr>
          <p:cNvPr id="10" name="Rectangle 9"/>
          <p:cNvSpPr/>
          <p:nvPr/>
        </p:nvSpPr>
        <p:spPr>
          <a:xfrm>
            <a:off x="6311078" y="1844061"/>
            <a:ext cx="2632797" cy="54239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t>Company B sends $5000 to Company A</a:t>
            </a:r>
            <a:endParaRPr lang="en-US" sz="1400" dirty="0"/>
          </a:p>
        </p:txBody>
      </p:sp>
      <p:sp>
        <p:nvSpPr>
          <p:cNvPr id="11" name="Right Arrow 10"/>
          <p:cNvSpPr/>
          <p:nvPr/>
        </p:nvSpPr>
        <p:spPr>
          <a:xfrm rot="10800000">
            <a:off x="3632724" y="1891745"/>
            <a:ext cx="2278994" cy="383458"/>
          </a:xfrm>
          <a:prstGeom prst="rightArrow">
            <a:avLst/>
          </a:prstGeom>
          <a:solidFill>
            <a:schemeClr val="accent1">
              <a:tint val="100000"/>
              <a:shade val="100000"/>
              <a:satMod val="1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2" name="Oval 11"/>
          <p:cNvSpPr/>
          <p:nvPr/>
        </p:nvSpPr>
        <p:spPr>
          <a:xfrm>
            <a:off x="608363" y="1846248"/>
            <a:ext cx="2477089" cy="52572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Credit Push</a:t>
            </a:r>
            <a:endParaRPr lang="en-US" sz="1400" dirty="0">
              <a:solidFill>
                <a:schemeClr val="bg1"/>
              </a:solidFill>
            </a:endParaRPr>
          </a:p>
        </p:txBody>
      </p:sp>
      <p:sp>
        <p:nvSpPr>
          <p:cNvPr id="13" name="Rectangle 12"/>
          <p:cNvSpPr/>
          <p:nvPr/>
        </p:nvSpPr>
        <p:spPr>
          <a:xfrm>
            <a:off x="6287303" y="3375678"/>
            <a:ext cx="2632797" cy="54239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t>Company B needs to show they are paying multiple invoices</a:t>
            </a:r>
            <a:endParaRPr lang="en-US" sz="1400" dirty="0"/>
          </a:p>
        </p:txBody>
      </p:sp>
      <p:sp>
        <p:nvSpPr>
          <p:cNvPr id="14" name="Right Arrow 13"/>
          <p:cNvSpPr/>
          <p:nvPr/>
        </p:nvSpPr>
        <p:spPr>
          <a:xfrm rot="10800000">
            <a:off x="3632724" y="3444553"/>
            <a:ext cx="2278994" cy="383458"/>
          </a:xfrm>
          <a:prstGeom prst="rightArrow">
            <a:avLst/>
          </a:prstGeom>
          <a:solidFill>
            <a:schemeClr val="accent1">
              <a:tint val="100000"/>
              <a:shade val="100000"/>
              <a:satMod val="1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5" name="Oval 14"/>
          <p:cNvSpPr/>
          <p:nvPr/>
        </p:nvSpPr>
        <p:spPr>
          <a:xfrm>
            <a:off x="632137" y="3376409"/>
            <a:ext cx="2477089" cy="52572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Extended Remittance</a:t>
            </a:r>
            <a:endParaRPr lang="en-US" sz="1400" dirty="0">
              <a:solidFill>
                <a:schemeClr val="bg1"/>
              </a:solidFill>
            </a:endParaRPr>
          </a:p>
        </p:txBody>
      </p:sp>
      <p:sp>
        <p:nvSpPr>
          <p:cNvPr id="16" name="Rectangle 15"/>
          <p:cNvSpPr/>
          <p:nvPr/>
        </p:nvSpPr>
        <p:spPr>
          <a:xfrm>
            <a:off x="530508" y="4133150"/>
            <a:ext cx="2632797" cy="54239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t>Company A has applied the payments from Company B</a:t>
            </a:r>
            <a:endParaRPr lang="en-US" sz="1400" dirty="0"/>
          </a:p>
        </p:txBody>
      </p:sp>
      <p:sp>
        <p:nvSpPr>
          <p:cNvPr id="17" name="Right Arrow 16"/>
          <p:cNvSpPr/>
          <p:nvPr/>
        </p:nvSpPr>
        <p:spPr>
          <a:xfrm>
            <a:off x="3632724" y="4220957"/>
            <a:ext cx="2278994" cy="383458"/>
          </a:xfrm>
          <a:prstGeom prst="rightArrow">
            <a:avLst/>
          </a:prstGeom>
          <a:solidFill>
            <a:schemeClr val="accent1">
              <a:tint val="100000"/>
              <a:shade val="100000"/>
              <a:satMod val="1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8" name="Oval 17"/>
          <p:cNvSpPr/>
          <p:nvPr/>
        </p:nvSpPr>
        <p:spPr>
          <a:xfrm>
            <a:off x="6287302" y="4149825"/>
            <a:ext cx="2477089" cy="52572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bg1"/>
                </a:solidFill>
              </a:rPr>
              <a:t>Acknowledgment Message</a:t>
            </a:r>
            <a:endParaRPr lang="en-US" sz="1400" dirty="0">
              <a:solidFill>
                <a:schemeClr val="bg1"/>
              </a:solidFill>
            </a:endParaRPr>
          </a:p>
        </p:txBody>
      </p:sp>
      <p:sp>
        <p:nvSpPr>
          <p:cNvPr id="19" name="Rectangle 18"/>
          <p:cNvSpPr/>
          <p:nvPr/>
        </p:nvSpPr>
        <p:spPr>
          <a:xfrm>
            <a:off x="554284" y="4958453"/>
            <a:ext cx="780217" cy="16073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20" name="Oval 19"/>
          <p:cNvSpPr/>
          <p:nvPr/>
        </p:nvSpPr>
        <p:spPr>
          <a:xfrm>
            <a:off x="2668660" y="4956665"/>
            <a:ext cx="734076" cy="15579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bg1"/>
              </a:solidFill>
            </a:endParaRPr>
          </a:p>
        </p:txBody>
      </p:sp>
      <p:sp>
        <p:nvSpPr>
          <p:cNvPr id="21" name="TextBox 20"/>
          <p:cNvSpPr txBox="1"/>
          <p:nvPr/>
        </p:nvSpPr>
        <p:spPr>
          <a:xfrm>
            <a:off x="1311055" y="4912770"/>
            <a:ext cx="1149674" cy="246221"/>
          </a:xfrm>
          <a:prstGeom prst="rect">
            <a:avLst/>
          </a:prstGeom>
          <a:noFill/>
        </p:spPr>
        <p:txBody>
          <a:bodyPr wrap="none" rtlCol="0">
            <a:spAutoFit/>
          </a:bodyPr>
          <a:lstStyle/>
          <a:p>
            <a:r>
              <a:rPr lang="en-US" sz="1000" dirty="0" smtClean="0"/>
              <a:t>= Customer Action</a:t>
            </a:r>
            <a:endParaRPr lang="en-US" sz="1000" dirty="0"/>
          </a:p>
        </p:txBody>
      </p:sp>
      <p:sp>
        <p:nvSpPr>
          <p:cNvPr id="22" name="TextBox 21"/>
          <p:cNvSpPr txBox="1"/>
          <p:nvPr/>
        </p:nvSpPr>
        <p:spPr>
          <a:xfrm>
            <a:off x="3373281" y="4912770"/>
            <a:ext cx="962123" cy="246221"/>
          </a:xfrm>
          <a:prstGeom prst="rect">
            <a:avLst/>
          </a:prstGeom>
          <a:noFill/>
        </p:spPr>
        <p:txBody>
          <a:bodyPr wrap="none" rtlCol="0">
            <a:spAutoFit/>
          </a:bodyPr>
          <a:lstStyle/>
          <a:p>
            <a:r>
              <a:rPr lang="en-US" sz="1000" dirty="0" smtClean="0"/>
              <a:t>= RTP Message</a:t>
            </a:r>
            <a:endParaRPr lang="en-US" sz="1000" dirty="0"/>
          </a:p>
        </p:txBody>
      </p:sp>
    </p:spTree>
    <p:extLst>
      <p:ext uri="{BB962C8B-B14F-4D97-AF65-F5344CB8AC3E}">
        <p14:creationId xmlns:p14="http://schemas.microsoft.com/office/powerpoint/2010/main" val="19339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par>
                    <p:cTn id="12" fill="hold">
                      <p:stCondLst>
                        <p:cond delay="indefinite"/>
                      </p:stCondLst>
                      <p:childTnLst>
                        <p:par>
                          <p:cTn id="13" fill="hold">
                            <p:stCondLst>
                              <p:cond delay="0"/>
                            </p:stCondLst>
                            <p:childTnLst>
                              <p:par>
                                <p:cTn id="14" presetID="53" presetClass="entr" presetSubtype="16" fill="hold" grpId="0" nodeType="click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p:cTn id="16" dur="500" fill="hold"/>
                                        <p:tgtEl>
                                          <p:spTgt spid="6"/>
                                        </p:tgtEl>
                                        <p:attrNameLst>
                                          <p:attrName>ppt_w</p:attrName>
                                        </p:attrNameLst>
                                      </p:cBhvr>
                                      <p:tavLst>
                                        <p:tav tm="0">
                                          <p:val>
                                            <p:fltVal val="0"/>
                                          </p:val>
                                        </p:tav>
                                        <p:tav tm="100000">
                                          <p:val>
                                            <p:strVal val="#ppt_w"/>
                                          </p:val>
                                        </p:tav>
                                      </p:tavLst>
                                    </p:anim>
                                    <p:anim calcmode="lin" valueType="num">
                                      <p:cBhvr>
                                        <p:cTn id="17" dur="500" fill="hold"/>
                                        <p:tgtEl>
                                          <p:spTgt spid="6"/>
                                        </p:tgtEl>
                                        <p:attrNameLst>
                                          <p:attrName>ppt_h</p:attrName>
                                        </p:attrNameLst>
                                      </p:cBhvr>
                                      <p:tavLst>
                                        <p:tav tm="0">
                                          <p:val>
                                            <p:fltVal val="0"/>
                                          </p:val>
                                        </p:tav>
                                        <p:tav tm="100000">
                                          <p:val>
                                            <p:strVal val="#ppt_h"/>
                                          </p:val>
                                        </p:tav>
                                      </p:tavLst>
                                    </p:anim>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 calcmode="lin" valueType="num">
                                      <p:cBhvr>
                                        <p:cTn id="32" dur="500" fill="hold"/>
                                        <p:tgtEl>
                                          <p:spTgt spid="12"/>
                                        </p:tgtEl>
                                        <p:attrNameLst>
                                          <p:attrName>ppt_w</p:attrName>
                                        </p:attrNameLst>
                                      </p:cBhvr>
                                      <p:tavLst>
                                        <p:tav tm="0">
                                          <p:val>
                                            <p:fltVal val="0"/>
                                          </p:val>
                                        </p:tav>
                                        <p:tav tm="100000">
                                          <p:val>
                                            <p:strVal val="#ppt_w"/>
                                          </p:val>
                                        </p:tav>
                                      </p:tavLst>
                                    </p:anim>
                                    <p:anim calcmode="lin" valueType="num">
                                      <p:cBhvr>
                                        <p:cTn id="33" dur="500" fill="hold"/>
                                        <p:tgtEl>
                                          <p:spTgt spid="12"/>
                                        </p:tgtEl>
                                        <p:attrNameLst>
                                          <p:attrName>ppt_h</p:attrName>
                                        </p:attrNameLst>
                                      </p:cBhvr>
                                      <p:tavLst>
                                        <p:tav tm="0">
                                          <p:val>
                                            <p:fltVal val="0"/>
                                          </p:val>
                                        </p:tav>
                                        <p:tav tm="100000">
                                          <p:val>
                                            <p:strVal val="#ppt_h"/>
                                          </p:val>
                                        </p:tav>
                                      </p:tavLst>
                                    </p:anim>
                                    <p:animEffect transition="in" filter="fade">
                                      <p:cBhvr>
                                        <p:cTn id="34" dur="500"/>
                                        <p:tgtEl>
                                          <p:spTgt spid="12"/>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childTnLst>
                          </p:cTn>
                        </p:par>
                      </p:childTnLst>
                    </p:cTn>
                  </p:par>
                  <p:par>
                    <p:cTn id="44" fill="hold">
                      <p:stCondLst>
                        <p:cond delay="indefinite"/>
                      </p:stCondLst>
                      <p:childTnLst>
                        <p:par>
                          <p:cTn id="45" fill="hold">
                            <p:stCondLst>
                              <p:cond delay="0"/>
                            </p:stCondLst>
                            <p:childTnLst>
                              <p:par>
                                <p:cTn id="46" presetID="53" presetClass="entr" presetSubtype="16" fill="hold" grpId="0" nodeType="clickEffect">
                                  <p:stCondLst>
                                    <p:cond delay="0"/>
                                  </p:stCondLst>
                                  <p:childTnLst>
                                    <p:set>
                                      <p:cBhvr>
                                        <p:cTn id="47" dur="1" fill="hold">
                                          <p:stCondLst>
                                            <p:cond delay="0"/>
                                          </p:stCondLst>
                                        </p:cTn>
                                        <p:tgtEl>
                                          <p:spTgt spid="9"/>
                                        </p:tgtEl>
                                        <p:attrNameLst>
                                          <p:attrName>style.visibility</p:attrName>
                                        </p:attrNameLst>
                                      </p:cBhvr>
                                      <p:to>
                                        <p:strVal val="visible"/>
                                      </p:to>
                                    </p:set>
                                    <p:anim calcmode="lin" valueType="num">
                                      <p:cBhvr>
                                        <p:cTn id="48" dur="500" fill="hold"/>
                                        <p:tgtEl>
                                          <p:spTgt spid="9"/>
                                        </p:tgtEl>
                                        <p:attrNameLst>
                                          <p:attrName>ppt_w</p:attrName>
                                        </p:attrNameLst>
                                      </p:cBhvr>
                                      <p:tavLst>
                                        <p:tav tm="0">
                                          <p:val>
                                            <p:fltVal val="0"/>
                                          </p:val>
                                        </p:tav>
                                        <p:tav tm="100000">
                                          <p:val>
                                            <p:strVal val="#ppt_w"/>
                                          </p:val>
                                        </p:tav>
                                      </p:tavLst>
                                    </p:anim>
                                    <p:anim calcmode="lin" valueType="num">
                                      <p:cBhvr>
                                        <p:cTn id="49" dur="500" fill="hold"/>
                                        <p:tgtEl>
                                          <p:spTgt spid="9"/>
                                        </p:tgtEl>
                                        <p:attrNameLst>
                                          <p:attrName>ppt_h</p:attrName>
                                        </p:attrNameLst>
                                      </p:cBhvr>
                                      <p:tavLst>
                                        <p:tav tm="0">
                                          <p:val>
                                            <p:fltVal val="0"/>
                                          </p:val>
                                        </p:tav>
                                        <p:tav tm="100000">
                                          <p:val>
                                            <p:strVal val="#ppt_h"/>
                                          </p:val>
                                        </p:tav>
                                      </p:tavLst>
                                    </p:anim>
                                    <p:animEffect transition="in" filter="fade">
                                      <p:cBhvr>
                                        <p:cTn id="50" dur="500"/>
                                        <p:tgtEl>
                                          <p:spTgt spid="9"/>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childTnLst>
                          </p:cTn>
                        </p:par>
                      </p:childTnLst>
                    </p:cTn>
                  </p:par>
                  <p:par>
                    <p:cTn id="60" fill="hold">
                      <p:stCondLst>
                        <p:cond delay="indefinite"/>
                      </p:stCondLst>
                      <p:childTnLst>
                        <p:par>
                          <p:cTn id="61" fill="hold">
                            <p:stCondLst>
                              <p:cond delay="0"/>
                            </p:stCondLst>
                            <p:childTnLst>
                              <p:par>
                                <p:cTn id="62" presetID="53" presetClass="entr" presetSubtype="16" fill="hold" grpId="0" nodeType="clickEffect">
                                  <p:stCondLst>
                                    <p:cond delay="0"/>
                                  </p:stCondLst>
                                  <p:childTnLst>
                                    <p:set>
                                      <p:cBhvr>
                                        <p:cTn id="63" dur="1" fill="hold">
                                          <p:stCondLst>
                                            <p:cond delay="0"/>
                                          </p:stCondLst>
                                        </p:cTn>
                                        <p:tgtEl>
                                          <p:spTgt spid="15"/>
                                        </p:tgtEl>
                                        <p:attrNameLst>
                                          <p:attrName>style.visibility</p:attrName>
                                        </p:attrNameLst>
                                      </p:cBhvr>
                                      <p:to>
                                        <p:strVal val="visible"/>
                                      </p:to>
                                    </p:set>
                                    <p:anim calcmode="lin" valueType="num">
                                      <p:cBhvr>
                                        <p:cTn id="64" dur="500" fill="hold"/>
                                        <p:tgtEl>
                                          <p:spTgt spid="15"/>
                                        </p:tgtEl>
                                        <p:attrNameLst>
                                          <p:attrName>ppt_w</p:attrName>
                                        </p:attrNameLst>
                                      </p:cBhvr>
                                      <p:tavLst>
                                        <p:tav tm="0">
                                          <p:val>
                                            <p:fltVal val="0"/>
                                          </p:val>
                                        </p:tav>
                                        <p:tav tm="100000">
                                          <p:val>
                                            <p:strVal val="#ppt_w"/>
                                          </p:val>
                                        </p:tav>
                                      </p:tavLst>
                                    </p:anim>
                                    <p:anim calcmode="lin" valueType="num">
                                      <p:cBhvr>
                                        <p:cTn id="65" dur="500" fill="hold"/>
                                        <p:tgtEl>
                                          <p:spTgt spid="15"/>
                                        </p:tgtEl>
                                        <p:attrNameLst>
                                          <p:attrName>ppt_h</p:attrName>
                                        </p:attrNameLst>
                                      </p:cBhvr>
                                      <p:tavLst>
                                        <p:tav tm="0">
                                          <p:val>
                                            <p:fltVal val="0"/>
                                          </p:val>
                                        </p:tav>
                                        <p:tav tm="100000">
                                          <p:val>
                                            <p:strVal val="#ppt_h"/>
                                          </p:val>
                                        </p:tav>
                                      </p:tavLst>
                                    </p:anim>
                                    <p:animEffect transition="in" filter="fade">
                                      <p:cBhvr>
                                        <p:cTn id="66" dur="500"/>
                                        <p:tgtEl>
                                          <p:spTgt spid="15"/>
                                        </p:tgtEl>
                                      </p:cBhvr>
                                    </p:animEffec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6"/>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7"/>
                                        </p:tgtEl>
                                        <p:attrNameLst>
                                          <p:attrName>style.visibility</p:attrName>
                                        </p:attrNameLst>
                                      </p:cBhvr>
                                      <p:to>
                                        <p:strVal val="visible"/>
                                      </p:to>
                                    </p:set>
                                    <p:animEffect transition="in" filter="fade">
                                      <p:cBhvr>
                                        <p:cTn id="75" dur="500"/>
                                        <p:tgtEl>
                                          <p:spTgt spid="17"/>
                                        </p:tgtEl>
                                      </p:cBhvr>
                                    </p:animEffect>
                                  </p:childTnLst>
                                </p:cTn>
                              </p:par>
                            </p:childTnLst>
                          </p:cTn>
                        </p:par>
                      </p:childTnLst>
                    </p:cTn>
                  </p:par>
                  <p:par>
                    <p:cTn id="76" fill="hold">
                      <p:stCondLst>
                        <p:cond delay="indefinite"/>
                      </p:stCondLst>
                      <p:childTnLst>
                        <p:par>
                          <p:cTn id="77" fill="hold">
                            <p:stCondLst>
                              <p:cond delay="0"/>
                            </p:stCondLst>
                            <p:childTnLst>
                              <p:par>
                                <p:cTn id="78" presetID="53" presetClass="entr" presetSubtype="16" fill="hold" grpId="0" nodeType="clickEffect">
                                  <p:stCondLst>
                                    <p:cond delay="0"/>
                                  </p:stCondLst>
                                  <p:childTnLst>
                                    <p:set>
                                      <p:cBhvr>
                                        <p:cTn id="79" dur="1" fill="hold">
                                          <p:stCondLst>
                                            <p:cond delay="0"/>
                                          </p:stCondLst>
                                        </p:cTn>
                                        <p:tgtEl>
                                          <p:spTgt spid="18"/>
                                        </p:tgtEl>
                                        <p:attrNameLst>
                                          <p:attrName>style.visibility</p:attrName>
                                        </p:attrNameLst>
                                      </p:cBhvr>
                                      <p:to>
                                        <p:strVal val="visible"/>
                                      </p:to>
                                    </p:set>
                                    <p:anim calcmode="lin" valueType="num">
                                      <p:cBhvr>
                                        <p:cTn id="80" dur="500" fill="hold"/>
                                        <p:tgtEl>
                                          <p:spTgt spid="18"/>
                                        </p:tgtEl>
                                        <p:attrNameLst>
                                          <p:attrName>ppt_w</p:attrName>
                                        </p:attrNameLst>
                                      </p:cBhvr>
                                      <p:tavLst>
                                        <p:tav tm="0">
                                          <p:val>
                                            <p:fltVal val="0"/>
                                          </p:val>
                                        </p:tav>
                                        <p:tav tm="100000">
                                          <p:val>
                                            <p:strVal val="#ppt_w"/>
                                          </p:val>
                                        </p:tav>
                                      </p:tavLst>
                                    </p:anim>
                                    <p:anim calcmode="lin" valueType="num">
                                      <p:cBhvr>
                                        <p:cTn id="81" dur="500" fill="hold"/>
                                        <p:tgtEl>
                                          <p:spTgt spid="18"/>
                                        </p:tgtEl>
                                        <p:attrNameLst>
                                          <p:attrName>ppt_h</p:attrName>
                                        </p:attrNameLst>
                                      </p:cBhvr>
                                      <p:tavLst>
                                        <p:tav tm="0">
                                          <p:val>
                                            <p:fltVal val="0"/>
                                          </p:val>
                                        </p:tav>
                                        <p:tav tm="100000">
                                          <p:val>
                                            <p:strVal val="#ppt_h"/>
                                          </p:val>
                                        </p:tav>
                                      </p:tavLst>
                                    </p:anim>
                                    <p:animEffect transition="in" filter="fade">
                                      <p:cBhvr>
                                        <p:cTn id="8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TCH Colors 2017">
      <a:dk1>
        <a:srgbClr val="363534"/>
      </a:dk1>
      <a:lt1>
        <a:sysClr val="window" lastClr="FFFFFF"/>
      </a:lt1>
      <a:dk2>
        <a:srgbClr val="003F72"/>
      </a:dk2>
      <a:lt2>
        <a:srgbClr val="C2DEEA"/>
      </a:lt2>
      <a:accent1>
        <a:srgbClr val="63B1E5"/>
      </a:accent1>
      <a:accent2>
        <a:srgbClr val="BCBDBC"/>
      </a:accent2>
      <a:accent3>
        <a:srgbClr val="E8CE79"/>
      </a:accent3>
      <a:accent4>
        <a:srgbClr val="593160"/>
      </a:accent4>
      <a:accent5>
        <a:srgbClr val="747678"/>
      </a:accent5>
      <a:accent6>
        <a:srgbClr val="9CDCD9"/>
      </a:accent6>
      <a:hlink>
        <a:srgbClr val="D47B22"/>
      </a:hlink>
      <a:folHlink>
        <a:srgbClr val="00C0B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TCH Colors 2017">
      <a:dk1>
        <a:srgbClr val="363534"/>
      </a:dk1>
      <a:lt1>
        <a:sysClr val="window" lastClr="FFFFFF"/>
      </a:lt1>
      <a:dk2>
        <a:srgbClr val="003F72"/>
      </a:dk2>
      <a:lt2>
        <a:srgbClr val="C2DEEA"/>
      </a:lt2>
      <a:accent1>
        <a:srgbClr val="63B1E5"/>
      </a:accent1>
      <a:accent2>
        <a:srgbClr val="BCBDBC"/>
      </a:accent2>
      <a:accent3>
        <a:srgbClr val="E8CE79"/>
      </a:accent3>
      <a:accent4>
        <a:srgbClr val="593160"/>
      </a:accent4>
      <a:accent5>
        <a:srgbClr val="747678"/>
      </a:accent5>
      <a:accent6>
        <a:srgbClr val="9CDCD9"/>
      </a:accent6>
      <a:hlink>
        <a:srgbClr val="D47B22"/>
      </a:hlink>
      <a:folHlink>
        <a:srgbClr val="00C0B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15</TotalTime>
  <Words>762</Words>
  <Application>Microsoft Office PowerPoint</Application>
  <PresentationFormat>On-screen Show (16:9)</PresentationFormat>
  <Paragraphs>137</Paragraphs>
  <Slides>21</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4" baseType="lpstr">
      <vt:lpstr>Office Theme</vt:lpstr>
      <vt:lpstr>1_Office Theme</vt:lpstr>
      <vt:lpstr>think-cell Slide</vt:lpstr>
      <vt:lpstr>The Dawn of a New Era in Electronic Invoicing and Payments</vt:lpstr>
      <vt:lpstr>The Clearing House:  A Hub for Interbank Exchanges and Innovation</vt:lpstr>
      <vt:lpstr>Real-time payments systems are being implemented around the world</vt:lpstr>
      <vt:lpstr>The B2B Industry also has many key challenges </vt:lpstr>
      <vt:lpstr>2017 saw the birth of a modern new core payment system in the US</vt:lpstr>
      <vt:lpstr>RTP is a brand new payment system designed for the 21st century and beyond</vt:lpstr>
      <vt:lpstr>RTP was built to support the growing demand of customers in a real-time market</vt:lpstr>
      <vt:lpstr>The RTP messages are the building blocks for new products and deeper integration</vt:lpstr>
      <vt:lpstr>RTP enables a complete contextual conversation about through out the full payment lifecycle</vt:lpstr>
      <vt:lpstr>Leveraging Application Programing Interfaces (API’s) makes more sense with RT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rown Advertising and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Brown</dc:creator>
  <cp:lastModifiedBy>Peter Andrew Davey</cp:lastModifiedBy>
  <cp:revision>145</cp:revision>
  <dcterms:created xsi:type="dcterms:W3CDTF">2017-09-18T22:05:43Z</dcterms:created>
  <dcterms:modified xsi:type="dcterms:W3CDTF">2018-10-16T22:53:58Z</dcterms:modified>
</cp:coreProperties>
</file>